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sldIdLst>
    <p:sldId id="256" r:id="rId2"/>
    <p:sldId id="319" r:id="rId3"/>
    <p:sldId id="324" r:id="rId4"/>
    <p:sldId id="320" r:id="rId5"/>
    <p:sldId id="321" r:id="rId6"/>
    <p:sldId id="303" r:id="rId7"/>
    <p:sldId id="304" r:id="rId8"/>
    <p:sldId id="322" r:id="rId9"/>
    <p:sldId id="306" r:id="rId10"/>
    <p:sldId id="301" r:id="rId11"/>
    <p:sldId id="308" r:id="rId12"/>
    <p:sldId id="323" r:id="rId13"/>
    <p:sldId id="310" r:id="rId14"/>
    <p:sldId id="311" r:id="rId15"/>
    <p:sldId id="313" r:id="rId16"/>
    <p:sldId id="316" r:id="rId17"/>
    <p:sldId id="315" r:id="rId18"/>
  </p:sldIdLst>
  <p:sldSz cx="9144000" cy="6858000" type="screen4x3"/>
  <p:notesSz cx="6797675" cy="9926638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033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밝은 스타일 1 - 강조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84E427A-3D55-4303-BF80-6455036E1DE7}" styleName="테마 스타일 1 - 강조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밝은 스타일 1 - 강조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F1AB2-1976-4502-BF36-3FF5EA218861}" styleName="보통 스타일 4 - 강조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BC89EF96-8CEA-46FF-86C4-4CE0E7609802}" styleName="밝은 스타일 3 - 강조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100" d="100"/>
          <a:sy n="100" d="100"/>
        </p:scale>
        <p:origin x="-294" y="-14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view3D>
      <c:rotX val="30"/>
      <c:rotY val="0"/>
      <c:rAngAx val="0"/>
      <c:perspective val="11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5.3522226488634118E-2"/>
          <c:y val="7.3618684512525456E-2"/>
          <c:w val="0.93958333333333333"/>
          <c:h val="0.91562500000000002"/>
        </c:manualLayout>
      </c:layout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</c:dPt>
          <c:dPt>
            <c:idx val="1"/>
            <c:bubble3D val="0"/>
          </c:dPt>
          <c:dPt>
            <c:idx val="2"/>
            <c:bubble3D val="0"/>
          </c:dPt>
          <c:dPt>
            <c:idx val="3"/>
            <c:bubble3D val="0"/>
          </c:dPt>
          <c:cat>
            <c:strRef>
              <c:f>Sheet1!$A$2</c:f>
              <c:strCache>
                <c:ptCount val="1"/>
                <c:pt idx="0">
                  <c:v>1st Qtr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gap"/>
    <c:showDLblsOverMax val="0"/>
  </c:chart>
  <c:txPr>
    <a:bodyPr/>
    <a:lstStyle/>
    <a:p>
      <a:pPr>
        <a:defRPr sz="1800"/>
      </a:pPr>
      <a:endParaRPr lang="ko-KR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rAngAx val="0"/>
      <c:perspective val="11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4.3320325239825007E-2"/>
          <c:y val="8.4374744970654073E-2"/>
          <c:w val="0.93958333333333333"/>
          <c:h val="0.91562500000000002"/>
        </c:manualLayout>
      </c:layout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0D65AC"/>
              </a:solidFill>
            </c:spPr>
          </c:dPt>
          <c:dPt>
            <c:idx val="1"/>
            <c:bubble3D val="0"/>
            <c:spPr>
              <a:solidFill>
                <a:srgbClr val="CE202A"/>
              </a:solidFill>
            </c:spPr>
          </c:dPt>
          <c:dPt>
            <c:idx val="2"/>
            <c:bubble3D val="0"/>
            <c:spPr>
              <a:solidFill>
                <a:srgbClr val="F0B71F"/>
              </a:solidFill>
            </c:spPr>
          </c:dPt>
          <c:dPt>
            <c:idx val="3"/>
            <c:bubble3D val="0"/>
            <c:spPr>
              <a:solidFill>
                <a:srgbClr val="2A9B18"/>
              </a:solidFill>
              <a:ln>
                <a:noFill/>
              </a:ln>
            </c:spPr>
          </c:dPt>
          <c:cat>
            <c:strRef>
              <c:f>Sheet1!$A$2</c:f>
              <c:strCache>
                <c:ptCount val="1"/>
                <c:pt idx="0">
                  <c:v>1st Qtr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gap"/>
    <c:showDLblsOverMax val="0"/>
  </c:chart>
  <c:txPr>
    <a:bodyPr/>
    <a:lstStyle/>
    <a:p>
      <a:pPr>
        <a:defRPr lang="en-US"/>
      </a:pPr>
      <a:endParaRPr lang="ko-KR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view3D>
      <c:rotX val="30"/>
      <c:rotY val="0"/>
      <c:rAngAx val="0"/>
      <c:perspective val="11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4.3320325239825007E-2"/>
          <c:y val="8.4374744970654073E-2"/>
          <c:w val="0.93958333333333333"/>
          <c:h val="0.91562500000000002"/>
        </c:manualLayout>
      </c:layout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</c:dPt>
          <c:dPt>
            <c:idx val="1"/>
            <c:bubble3D val="0"/>
          </c:dPt>
          <c:dPt>
            <c:idx val="2"/>
            <c:bubble3D val="0"/>
          </c:dPt>
          <c:dPt>
            <c:idx val="3"/>
            <c:bubble3D val="0"/>
          </c:dPt>
          <c:cat>
            <c:strRef>
              <c:f>Sheet1!$A$2</c:f>
              <c:strCache>
                <c:ptCount val="1"/>
                <c:pt idx="0">
                  <c:v>1st Qtr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gap"/>
    <c:showDLblsOverMax val="0"/>
  </c:chart>
  <c:txPr>
    <a:bodyPr/>
    <a:lstStyle/>
    <a:p>
      <a:pPr>
        <a:defRPr sz="1800"/>
      </a:pPr>
      <a:endParaRPr lang="ko-KR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autoTitleDeleted val="1"/>
    <c:view3D>
      <c:rotX val="30"/>
      <c:rotY val="0"/>
      <c:rAngAx val="0"/>
      <c:perspective val="11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4.3320325239825007E-2"/>
          <c:y val="8.4374744970654073E-2"/>
          <c:w val="0.93958333333333333"/>
          <c:h val="0.91562500000000002"/>
        </c:manualLayout>
      </c:layout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</c:dPt>
          <c:dPt>
            <c:idx val="1"/>
            <c:bubble3D val="0"/>
          </c:dPt>
          <c:dPt>
            <c:idx val="2"/>
            <c:bubble3D val="0"/>
          </c:dPt>
          <c:dPt>
            <c:idx val="3"/>
            <c:bubble3D val="0"/>
          </c:dPt>
          <c:cat>
            <c:strRef>
              <c:f>Sheet1!$A$2</c:f>
              <c:strCache>
                <c:ptCount val="1"/>
                <c:pt idx="0">
                  <c:v>1st Qtr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gap"/>
    <c:showDLblsOverMax val="0"/>
  </c:chart>
  <c:txPr>
    <a:bodyPr/>
    <a:lstStyle/>
    <a:p>
      <a:pPr>
        <a:defRPr sz="1800"/>
      </a:pPr>
      <a:endParaRPr lang="ko-KR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view3D>
      <c:rotX val="30"/>
      <c:rotY val="0"/>
      <c:rAngAx val="0"/>
      <c:perspective val="11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4.5405827946416828E-3"/>
          <c:y val="8.4375352853974003E-2"/>
          <c:w val="0.93958333333333333"/>
          <c:h val="0.91562500000000002"/>
        </c:manualLayout>
      </c:layout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</c:dPt>
          <c:dPt>
            <c:idx val="1"/>
            <c:bubble3D val="0"/>
          </c:dPt>
          <c:dPt>
            <c:idx val="2"/>
            <c:bubble3D val="0"/>
          </c:dPt>
          <c:dPt>
            <c:idx val="3"/>
            <c:bubble3D val="0"/>
          </c:dPt>
          <c:cat>
            <c:strRef>
              <c:f>Sheet1!$A$2</c:f>
              <c:strCache>
                <c:ptCount val="1"/>
                <c:pt idx="0">
                  <c:v>1st Qtr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gap"/>
    <c:showDLblsOverMax val="0"/>
  </c:chart>
  <c:txPr>
    <a:bodyPr/>
    <a:lstStyle/>
    <a:p>
      <a:pPr>
        <a:defRPr sz="1800"/>
      </a:pPr>
      <a:endParaRPr lang="ko-KR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view3D>
      <c:rotX val="30"/>
      <c:rotY val="0"/>
      <c:rAngAx val="0"/>
      <c:perspective val="11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4.3320325239825007E-2"/>
          <c:y val="8.4374744970654073E-2"/>
          <c:w val="0.93958333333333333"/>
          <c:h val="0.91562500000000002"/>
        </c:manualLayout>
      </c:layout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</c:dPt>
          <c:dPt>
            <c:idx val="1"/>
            <c:bubble3D val="0"/>
          </c:dPt>
          <c:dPt>
            <c:idx val="2"/>
            <c:bubble3D val="0"/>
          </c:dPt>
          <c:dPt>
            <c:idx val="3"/>
            <c:bubble3D val="0"/>
          </c:dPt>
          <c:cat>
            <c:strRef>
              <c:f>Sheet1!$A$2</c:f>
              <c:strCache>
                <c:ptCount val="1"/>
                <c:pt idx="0">
                  <c:v>1st Qtr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gap"/>
    <c:showDLblsOverMax val="0"/>
  </c:chart>
  <c:txPr>
    <a:bodyPr/>
    <a:lstStyle/>
    <a:p>
      <a:pPr>
        <a:defRPr sz="1800"/>
      </a:pPr>
      <a:endParaRPr lang="ko-KR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6126</cdr:x>
      <cdr:y>0.43027</cdr:y>
    </cdr:from>
    <cdr:to>
      <cdr:x>0.91323</cdr:x>
      <cdr:y>0.5041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00750" y="1524108"/>
          <a:ext cx="936104" cy="26161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rtlCol="0">
          <a:spAutoFit/>
        </a:bodyPr>
        <a:lstStyle xmlns:a="http://schemas.openxmlformats.org/drawingml/2006/main"/>
        <a:p xmlns:a="http://schemas.openxmlformats.org/drawingml/2006/main">
          <a:pPr algn="ctr"/>
          <a:r>
            <a:rPr lang="ko-KR" altLang="en-US" sz="11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rPr>
            <a:t>평가결과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30" tIns="45716" rIns="91430" bIns="45716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0445" y="0"/>
            <a:ext cx="2945659" cy="496332"/>
          </a:xfrm>
          <a:prstGeom prst="rect">
            <a:avLst/>
          </a:prstGeom>
        </p:spPr>
        <p:txBody>
          <a:bodyPr vert="horz" lIns="91430" tIns="45716" rIns="91430" bIns="45716" rtlCol="0"/>
          <a:lstStyle>
            <a:lvl1pPr algn="r">
              <a:defRPr sz="1200"/>
            </a:lvl1pPr>
          </a:lstStyle>
          <a:p>
            <a:fld id="{CB9F9C21-E250-428F-8E89-2F8A77951F5B}" type="datetimeFigureOut">
              <a:rPr lang="ko-KR" altLang="en-US" smtClean="0"/>
              <a:t>2014-10-16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0" tIns="45716" rIns="91430" bIns="45716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30" tIns="45716" rIns="91430" bIns="45716" rtlCol="0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6332"/>
          </a:xfrm>
          <a:prstGeom prst="rect">
            <a:avLst/>
          </a:prstGeom>
        </p:spPr>
        <p:txBody>
          <a:bodyPr vert="horz" lIns="91430" tIns="45716" rIns="91430" bIns="45716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0445" y="9428584"/>
            <a:ext cx="2945659" cy="496332"/>
          </a:xfrm>
          <a:prstGeom prst="rect">
            <a:avLst/>
          </a:prstGeom>
        </p:spPr>
        <p:txBody>
          <a:bodyPr vert="horz" lIns="91430" tIns="45716" rIns="91430" bIns="45716" rtlCol="0" anchor="b"/>
          <a:lstStyle>
            <a:lvl1pPr algn="r">
              <a:defRPr sz="1200"/>
            </a:lvl1pPr>
          </a:lstStyle>
          <a:p>
            <a:fld id="{0C824D6E-5587-4DAD-A68B-53EE779C3DA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461923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1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1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1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1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1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1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1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1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1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042933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1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936181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1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526946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1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703618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1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664767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16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881810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16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774352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16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520839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16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968959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16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944938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16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898162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ECDEBD-D546-4C56-96AD-60EDC955B841}" type="datetimeFigureOut">
              <a:rPr lang="ko-KR" altLang="en-US" smtClean="0"/>
              <a:t>2014-10-1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85042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jpg"/><Relationship Id="rId11" Type="http://schemas.openxmlformats.org/officeDocument/2006/relationships/image" Target="../media/image5.png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4.png"/><Relationship Id="rId4" Type="http://schemas.openxmlformats.org/officeDocument/2006/relationships/tags" Target="../tags/tag3.xml"/><Relationship Id="rId9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.png"/><Relationship Id="rId4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1.jpeg"/><Relationship Id="rId5" Type="http://schemas.openxmlformats.org/officeDocument/2006/relationships/image" Target="../media/image20.jpeg"/><Relationship Id="rId4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4.png"/><Relationship Id="rId5" Type="http://schemas.openxmlformats.org/officeDocument/2006/relationships/image" Target="../media/image6.png"/><Relationship Id="rId4" Type="http://schemas.openxmlformats.org/officeDocument/2006/relationships/image" Target="../media/image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27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6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6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://www.clker.com/cliparts/1/5/e/6/12065640151659966366Rfc1394_Double_Bed.svg.med.png" TargetMode="External"/><Relationship Id="rId5" Type="http://schemas.openxmlformats.org/officeDocument/2006/relationships/image" Target="../media/image28.jpeg"/><Relationship Id="rId4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19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34.png"/><Relationship Id="rId18" Type="http://schemas.openxmlformats.org/officeDocument/2006/relationships/image" Target="../media/image36.png"/><Relationship Id="rId3" Type="http://schemas.openxmlformats.org/officeDocument/2006/relationships/image" Target="../media/image6.png"/><Relationship Id="rId21" Type="http://schemas.openxmlformats.org/officeDocument/2006/relationships/hyperlink" Target="http://www.clker.com/cliparts/a/b/c/b/11949844121413126346fancy_folder_01.svg.med.png" TargetMode="External"/><Relationship Id="rId7" Type="http://schemas.openxmlformats.org/officeDocument/2006/relationships/hyperlink" Target="http://www.clker.com/cliparts/a/a/4/b/12344034822077289736buggi_build.svg.med.png" TargetMode="External"/><Relationship Id="rId12" Type="http://schemas.openxmlformats.org/officeDocument/2006/relationships/hyperlink" Target="http://www.clker.com/cliparts/1/3/8/4/1206572367240260960johnny_automatic_NPS_map_pictographs_part_38.svg.med.png" TargetMode="External"/><Relationship Id="rId17" Type="http://schemas.openxmlformats.org/officeDocument/2006/relationships/hyperlink" Target="http://www.clker.com/cliparts/D/m/h/i/B/M/open-enrollment-md.png" TargetMode="External"/><Relationship Id="rId2" Type="http://schemas.openxmlformats.org/officeDocument/2006/relationships/notesSlide" Target="../notesSlides/notesSlide16.xml"/><Relationship Id="rId16" Type="http://schemas.openxmlformats.org/officeDocument/2006/relationships/chart" Target="../charts/chart6.xml"/><Relationship Id="rId20" Type="http://schemas.openxmlformats.org/officeDocument/2006/relationships/image" Target="../media/image37.png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2.xml"/><Relationship Id="rId11" Type="http://schemas.openxmlformats.org/officeDocument/2006/relationships/chart" Target="../charts/chart4.xml"/><Relationship Id="rId5" Type="http://schemas.openxmlformats.org/officeDocument/2006/relationships/chart" Target="../charts/chart1.xml"/><Relationship Id="rId15" Type="http://schemas.openxmlformats.org/officeDocument/2006/relationships/image" Target="../media/image35.png"/><Relationship Id="rId10" Type="http://schemas.openxmlformats.org/officeDocument/2006/relationships/image" Target="../media/image7.png"/><Relationship Id="rId19" Type="http://schemas.openxmlformats.org/officeDocument/2006/relationships/hyperlink" Target="http://www.clker.com/cliparts/0/8/4/2/1194984656169603161people_juliane_krug_02c.svg.med.png" TargetMode="External"/><Relationship Id="rId4" Type="http://schemas.openxmlformats.org/officeDocument/2006/relationships/image" Target="../media/image19.png"/><Relationship Id="rId9" Type="http://schemas.openxmlformats.org/officeDocument/2006/relationships/chart" Target="../charts/chart3.xml"/><Relationship Id="rId14" Type="http://schemas.openxmlformats.org/officeDocument/2006/relationships/chart" Target="../charts/chart5.xml"/><Relationship Id="rId22" Type="http://schemas.openxmlformats.org/officeDocument/2006/relationships/image" Target="../media/image38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image" Target="../media/image7.png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image" Target="../media/image6.png"/><Relationship Id="rId2" Type="http://schemas.openxmlformats.org/officeDocument/2006/relationships/tags" Target="../tags/tag5.xml"/><Relationship Id="rId16" Type="http://schemas.openxmlformats.org/officeDocument/2006/relationships/notesSlide" Target="../notesSlides/notesSlide1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slideLayout" Target="../slideLayouts/slideLayout1.xml"/><Relationship Id="rId10" Type="http://schemas.openxmlformats.org/officeDocument/2006/relationships/tags" Target="../tags/tag13.xml"/><Relationship Id="rId19" Type="http://schemas.openxmlformats.org/officeDocument/2006/relationships/image" Target="../media/image8.png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0.xml"/><Relationship Id="rId7" Type="http://schemas.openxmlformats.org/officeDocument/2006/relationships/image" Target="../media/image6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notesSlide" Target="../notesSlides/notesSlide5.xml"/><Relationship Id="rId11" Type="http://schemas.openxmlformats.org/officeDocument/2006/relationships/image" Target="../media/image12.png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11.png"/><Relationship Id="rId4" Type="http://schemas.openxmlformats.org/officeDocument/2006/relationships/tags" Target="../tags/tag21.xml"/><Relationship Id="rId9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.png"/><Relationship Id="rId5" Type="http://schemas.openxmlformats.org/officeDocument/2006/relationships/image" Target="../media/image6.png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png"/><Relationship Id="rId5" Type="http://schemas.openxmlformats.org/officeDocument/2006/relationships/image" Target="../media/image14.jpeg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2" y="0"/>
            <a:ext cx="9144000" cy="6858000"/>
          </a:xfrm>
          <a:prstGeom prst="rect">
            <a:avLst/>
          </a:prstGeom>
        </p:spPr>
      </p:pic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12965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Oval 45"/>
          <p:cNvSpPr/>
          <p:nvPr/>
        </p:nvSpPr>
        <p:spPr>
          <a:xfrm>
            <a:off x="215304" y="161493"/>
            <a:ext cx="539719" cy="508017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03291" y="1150293"/>
            <a:ext cx="6696744" cy="17030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ko-KR" altLang="en-US" sz="4000" dirty="0" smtClean="0">
                <a:solidFill>
                  <a:srgbClr val="0B538F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바른 심사</a:t>
            </a:r>
            <a:r>
              <a:rPr lang="en-US" altLang="ko-KR" sz="4000" dirty="0" smtClean="0">
                <a:solidFill>
                  <a:srgbClr val="0B538F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4000" dirty="0" smtClean="0">
                <a:solidFill>
                  <a:srgbClr val="0B538F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바른 평가로</a:t>
            </a:r>
            <a:endParaRPr lang="en-US" altLang="ko-KR" sz="4000" dirty="0" smtClean="0">
              <a:solidFill>
                <a:srgbClr val="0B538F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r">
              <a:lnSpc>
                <a:spcPct val="150000"/>
              </a:lnSpc>
            </a:pPr>
            <a:r>
              <a:rPr lang="ko-KR" altLang="en-US" sz="4000" dirty="0" smtClean="0">
                <a:solidFill>
                  <a:srgbClr val="0B538F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국민의 평생 건강을 지키는</a:t>
            </a:r>
            <a:endParaRPr lang="en-US" altLang="ko-KR" sz="4000" dirty="0" smtClean="0">
              <a:solidFill>
                <a:srgbClr val="0B538F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 flipH="1">
            <a:off x="1150042" y="2996952"/>
            <a:ext cx="6149993" cy="0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3873556" y="3157421"/>
            <a:ext cx="4142770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국민건강보험공단</a:t>
            </a:r>
            <a:endParaRPr lang="en-US" altLang="ko-KR" sz="2400" dirty="0">
              <a:solidFill>
                <a:schemeClr val="tx1">
                  <a:lumMod val="65000"/>
                  <a:lumOff val="35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2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건강보험심사평가원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진단</a:t>
            </a:r>
            <a:endParaRPr lang="en-US" altLang="ko-KR" sz="2400" dirty="0" smtClean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217142" y="343248"/>
            <a:ext cx="53788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2014</a:t>
            </a:r>
            <a:endParaRPr lang="en-US" sz="11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5847835" y="5374034"/>
            <a:ext cx="254058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국회의원   </a:t>
            </a:r>
            <a:r>
              <a:rPr lang="ko-KR" altLang="en-US" sz="28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이 명 수</a:t>
            </a:r>
            <a:endParaRPr lang="en-US" sz="28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71010" y="254848"/>
            <a:ext cx="1842926" cy="4231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ko-KR" altLang="en-US" sz="1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보건복지위원회</a:t>
            </a:r>
            <a:endParaRPr lang="en-US" altLang="ko-KR" sz="1100" dirty="0" smtClean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국정감</a:t>
            </a:r>
            <a:r>
              <a:rPr lang="ko-KR" altLang="en-US" sz="11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사</a:t>
            </a:r>
            <a:endParaRPr lang="en-US" sz="11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893433" y="5875444"/>
            <a:ext cx="244938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ko-KR" sz="1400" dirty="0" smtClean="0">
                <a:solidFill>
                  <a:schemeClr val="accent2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1400" dirty="0" smtClean="0">
                <a:solidFill>
                  <a:schemeClr val="accent2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충남 아산</a:t>
            </a:r>
            <a:r>
              <a:rPr lang="en-US" altLang="ko-KR" sz="1400" dirty="0" smtClean="0">
                <a:solidFill>
                  <a:schemeClr val="accent2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400" dirty="0" err="1" smtClean="0">
                <a:solidFill>
                  <a:schemeClr val="accent2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새누리당</a:t>
            </a:r>
            <a:r>
              <a:rPr lang="en-US" altLang="ko-KR" sz="1400" dirty="0" smtClean="0">
                <a:solidFill>
                  <a:schemeClr val="accent2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endParaRPr lang="en-US" sz="1400" dirty="0">
              <a:solidFill>
                <a:schemeClr val="accent2">
                  <a:lumMod val="75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84" y="5832161"/>
            <a:ext cx="539951" cy="258727"/>
          </a:xfrm>
          <a:prstGeom prst="rect">
            <a:avLst/>
          </a:prstGeom>
        </p:spPr>
      </p:pic>
      <p:grpSp>
        <p:nvGrpSpPr>
          <p:cNvPr id="14" name="Group 348"/>
          <p:cNvGrpSpPr/>
          <p:nvPr/>
        </p:nvGrpSpPr>
        <p:grpSpPr>
          <a:xfrm>
            <a:off x="426239" y="6370186"/>
            <a:ext cx="1453620" cy="288575"/>
            <a:chOff x="2077120" y="4859661"/>
            <a:chExt cx="1453620" cy="288575"/>
          </a:xfrm>
        </p:grpSpPr>
        <p:sp>
          <p:nvSpPr>
            <p:cNvPr id="15" name="Freeform 6"/>
            <p:cNvSpPr>
              <a:spLocks noEditPoints="1"/>
            </p:cNvSpPr>
            <p:nvPr>
              <p:custDataLst>
                <p:tags r:id="rId3"/>
              </p:custDataLst>
            </p:nvPr>
          </p:nvSpPr>
          <p:spPr bwMode="auto">
            <a:xfrm>
              <a:off x="2077120" y="4859661"/>
              <a:ext cx="290457" cy="288575"/>
            </a:xfrm>
            <a:custGeom>
              <a:avLst/>
              <a:gdLst>
                <a:gd name="T0" fmla="*/ 1285 w 2772"/>
                <a:gd name="T1" fmla="*/ 205 h 2759"/>
                <a:gd name="T2" fmla="*/ 1485 w 2772"/>
                <a:gd name="T3" fmla="*/ 195 h 2759"/>
                <a:gd name="T4" fmla="*/ 2533 w 2772"/>
                <a:gd name="T5" fmla="*/ 616 h 2759"/>
                <a:gd name="T6" fmla="*/ 2366 w 2772"/>
                <a:gd name="T7" fmla="*/ 2357 h 2759"/>
                <a:gd name="T8" fmla="*/ 1023 w 2772"/>
                <a:gd name="T9" fmla="*/ 2708 h 2759"/>
                <a:gd name="T10" fmla="*/ 45 w 2772"/>
                <a:gd name="T11" fmla="*/ 1742 h 2759"/>
                <a:gd name="T12" fmla="*/ 292 w 2772"/>
                <a:gd name="T13" fmla="*/ 534 h 2759"/>
                <a:gd name="T14" fmla="*/ 1142 w 2772"/>
                <a:gd name="T15" fmla="*/ 21 h 2759"/>
                <a:gd name="T16" fmla="*/ 2158 w 2772"/>
                <a:gd name="T17" fmla="*/ 302 h 2759"/>
                <a:gd name="T18" fmla="*/ 702 w 2772"/>
                <a:gd name="T19" fmla="*/ 244 h 2759"/>
                <a:gd name="T20" fmla="*/ 364 w 2772"/>
                <a:gd name="T21" fmla="*/ 534 h 2759"/>
                <a:gd name="T22" fmla="*/ 266 w 2772"/>
                <a:gd name="T23" fmla="*/ 1264 h 2759"/>
                <a:gd name="T24" fmla="*/ 55 w 2772"/>
                <a:gd name="T25" fmla="*/ 1418 h 2759"/>
                <a:gd name="T26" fmla="*/ 1323 w 2772"/>
                <a:gd name="T27" fmla="*/ 2705 h 2759"/>
                <a:gd name="T28" fmla="*/ 2580 w 2772"/>
                <a:gd name="T29" fmla="*/ 1968 h 2759"/>
                <a:gd name="T30" fmla="*/ 2611 w 2772"/>
                <a:gd name="T31" fmla="*/ 1678 h 2759"/>
                <a:gd name="T32" fmla="*/ 2605 w 2772"/>
                <a:gd name="T33" fmla="*/ 1008 h 2759"/>
                <a:gd name="T34" fmla="*/ 2692 w 2772"/>
                <a:gd name="T35" fmla="*/ 1488 h 2759"/>
                <a:gd name="T36" fmla="*/ 1696 w 2772"/>
                <a:gd name="T37" fmla="*/ 112 h 2759"/>
                <a:gd name="T38" fmla="*/ 1735 w 2772"/>
                <a:gd name="T39" fmla="*/ 159 h 2759"/>
                <a:gd name="T40" fmla="*/ 1707 w 2772"/>
                <a:gd name="T41" fmla="*/ 269 h 2759"/>
                <a:gd name="T42" fmla="*/ 2308 w 2772"/>
                <a:gd name="T43" fmla="*/ 642 h 2759"/>
                <a:gd name="T44" fmla="*/ 2588 w 2772"/>
                <a:gd name="T45" fmla="*/ 903 h 2759"/>
                <a:gd name="T46" fmla="*/ 2194 w 2772"/>
                <a:gd name="T47" fmla="*/ 728 h 2759"/>
                <a:gd name="T48" fmla="*/ 1726 w 2772"/>
                <a:gd name="T49" fmla="*/ 310 h 2759"/>
                <a:gd name="T50" fmla="*/ 1627 w 2772"/>
                <a:gd name="T51" fmla="*/ 295 h 2759"/>
                <a:gd name="T52" fmla="*/ 2070 w 2772"/>
                <a:gd name="T53" fmla="*/ 2496 h 2759"/>
                <a:gd name="T54" fmla="*/ 2480 w 2772"/>
                <a:gd name="T55" fmla="*/ 1784 h 2759"/>
                <a:gd name="T56" fmla="*/ 2399 w 2772"/>
                <a:gd name="T57" fmla="*/ 2180 h 2759"/>
                <a:gd name="T58" fmla="*/ 2054 w 2772"/>
                <a:gd name="T59" fmla="*/ 1566 h 2759"/>
                <a:gd name="T60" fmla="*/ 2130 w 2772"/>
                <a:gd name="T61" fmla="*/ 840 h 2759"/>
                <a:gd name="T62" fmla="*/ 2108 w 2772"/>
                <a:gd name="T63" fmla="*/ 711 h 2759"/>
                <a:gd name="T64" fmla="*/ 1906 w 2772"/>
                <a:gd name="T65" fmla="*/ 501 h 2759"/>
                <a:gd name="T66" fmla="*/ 1438 w 2772"/>
                <a:gd name="T67" fmla="*/ 288 h 2759"/>
                <a:gd name="T68" fmla="*/ 1414 w 2772"/>
                <a:gd name="T69" fmla="*/ 2483 h 2759"/>
                <a:gd name="T70" fmla="*/ 1979 w 2772"/>
                <a:gd name="T71" fmla="*/ 1980 h 2759"/>
                <a:gd name="T72" fmla="*/ 2035 w 2772"/>
                <a:gd name="T73" fmla="*/ 1690 h 2759"/>
                <a:gd name="T74" fmla="*/ 1984 w 2772"/>
                <a:gd name="T75" fmla="*/ 1425 h 2759"/>
                <a:gd name="T76" fmla="*/ 1801 w 2772"/>
                <a:gd name="T77" fmla="*/ 859 h 2759"/>
                <a:gd name="T78" fmla="*/ 1562 w 2772"/>
                <a:gd name="T79" fmla="*/ 407 h 2759"/>
                <a:gd name="T80" fmla="*/ 1180 w 2772"/>
                <a:gd name="T81" fmla="*/ 97 h 2759"/>
                <a:gd name="T82" fmla="*/ 1050 w 2772"/>
                <a:gd name="T83" fmla="*/ 188 h 2759"/>
                <a:gd name="T84" fmla="*/ 900 w 2772"/>
                <a:gd name="T85" fmla="*/ 234 h 2759"/>
                <a:gd name="T86" fmla="*/ 929 w 2772"/>
                <a:gd name="T87" fmla="*/ 265 h 2759"/>
                <a:gd name="T88" fmla="*/ 1001 w 2772"/>
                <a:gd name="T89" fmla="*/ 242 h 2759"/>
                <a:gd name="T90" fmla="*/ 739 w 2772"/>
                <a:gd name="T91" fmla="*/ 554 h 2759"/>
                <a:gd name="T92" fmla="*/ 207 w 2772"/>
                <a:gd name="T93" fmla="*/ 1031 h 2759"/>
                <a:gd name="T94" fmla="*/ 427 w 2772"/>
                <a:gd name="T95" fmla="*/ 549 h 2759"/>
                <a:gd name="T96" fmla="*/ 968 w 2772"/>
                <a:gd name="T97" fmla="*/ 605 h 2759"/>
                <a:gd name="T98" fmla="*/ 777 w 2772"/>
                <a:gd name="T99" fmla="*/ 871 h 2759"/>
                <a:gd name="T100" fmla="*/ 424 w 2772"/>
                <a:gd name="T101" fmla="*/ 1271 h 2759"/>
                <a:gd name="T102" fmla="*/ 258 w 2772"/>
                <a:gd name="T103" fmla="*/ 1401 h 2759"/>
                <a:gd name="T104" fmla="*/ 671 w 2772"/>
                <a:gd name="T105" fmla="*/ 1431 h 2759"/>
                <a:gd name="T106" fmla="*/ 342 w 2772"/>
                <a:gd name="T107" fmla="*/ 2162 h 2759"/>
                <a:gd name="T108" fmla="*/ 306 w 2772"/>
                <a:gd name="T109" fmla="*/ 1810 h 2759"/>
                <a:gd name="T110" fmla="*/ 501 w 2772"/>
                <a:gd name="T111" fmla="*/ 2305 h 2759"/>
                <a:gd name="T112" fmla="*/ 1138 w 2772"/>
                <a:gd name="T113" fmla="*/ 652 h 2759"/>
                <a:gd name="T114" fmla="*/ 1375 w 2772"/>
                <a:gd name="T115" fmla="*/ 984 h 2759"/>
                <a:gd name="T116" fmla="*/ 1299 w 2772"/>
                <a:gd name="T117" fmla="*/ 1500 h 2759"/>
                <a:gd name="T118" fmla="*/ 1206 w 2772"/>
                <a:gd name="T119" fmla="*/ 2002 h 2759"/>
                <a:gd name="T120" fmla="*/ 750 w 2772"/>
                <a:gd name="T121" fmla="*/ 2359 h 2759"/>
                <a:gd name="T122" fmla="*/ 740 w 2772"/>
                <a:gd name="T123" fmla="*/ 1977 h 2759"/>
                <a:gd name="T124" fmla="*/ 1107 w 2772"/>
                <a:gd name="T125" fmla="*/ 246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72" h="2759">
                  <a:moveTo>
                    <a:pt x="1406" y="117"/>
                  </a:moveTo>
                  <a:lnTo>
                    <a:pt x="1417" y="119"/>
                  </a:lnTo>
                  <a:lnTo>
                    <a:pt x="1427" y="121"/>
                  </a:lnTo>
                  <a:lnTo>
                    <a:pt x="1433" y="113"/>
                  </a:lnTo>
                  <a:lnTo>
                    <a:pt x="1440" y="106"/>
                  </a:lnTo>
                  <a:lnTo>
                    <a:pt x="1447" y="99"/>
                  </a:lnTo>
                  <a:lnTo>
                    <a:pt x="1455" y="93"/>
                  </a:lnTo>
                  <a:lnTo>
                    <a:pt x="1472" y="83"/>
                  </a:lnTo>
                  <a:lnTo>
                    <a:pt x="1489" y="74"/>
                  </a:lnTo>
                  <a:lnTo>
                    <a:pt x="1468" y="71"/>
                  </a:lnTo>
                  <a:lnTo>
                    <a:pt x="1448" y="69"/>
                  </a:lnTo>
                  <a:lnTo>
                    <a:pt x="1427" y="68"/>
                  </a:lnTo>
                  <a:lnTo>
                    <a:pt x="1406" y="68"/>
                  </a:lnTo>
                  <a:lnTo>
                    <a:pt x="1406" y="117"/>
                  </a:lnTo>
                  <a:close/>
                  <a:moveTo>
                    <a:pt x="1387" y="147"/>
                  </a:moveTo>
                  <a:lnTo>
                    <a:pt x="1375" y="147"/>
                  </a:lnTo>
                  <a:lnTo>
                    <a:pt x="1365" y="148"/>
                  </a:lnTo>
                  <a:lnTo>
                    <a:pt x="1354" y="150"/>
                  </a:lnTo>
                  <a:lnTo>
                    <a:pt x="1344" y="152"/>
                  </a:lnTo>
                  <a:lnTo>
                    <a:pt x="1336" y="154"/>
                  </a:lnTo>
                  <a:lnTo>
                    <a:pt x="1328" y="157"/>
                  </a:lnTo>
                  <a:lnTo>
                    <a:pt x="1320" y="160"/>
                  </a:lnTo>
                  <a:lnTo>
                    <a:pt x="1313" y="163"/>
                  </a:lnTo>
                  <a:lnTo>
                    <a:pt x="1307" y="167"/>
                  </a:lnTo>
                  <a:lnTo>
                    <a:pt x="1301" y="172"/>
                  </a:lnTo>
                  <a:lnTo>
                    <a:pt x="1297" y="176"/>
                  </a:lnTo>
                  <a:lnTo>
                    <a:pt x="1293" y="181"/>
                  </a:lnTo>
                  <a:lnTo>
                    <a:pt x="1290" y="185"/>
                  </a:lnTo>
                  <a:lnTo>
                    <a:pt x="1288" y="190"/>
                  </a:lnTo>
                  <a:lnTo>
                    <a:pt x="1286" y="195"/>
                  </a:lnTo>
                  <a:lnTo>
                    <a:pt x="1285" y="199"/>
                  </a:lnTo>
                  <a:lnTo>
                    <a:pt x="1285" y="205"/>
                  </a:lnTo>
                  <a:lnTo>
                    <a:pt x="1286" y="210"/>
                  </a:lnTo>
                  <a:lnTo>
                    <a:pt x="1288" y="214"/>
                  </a:lnTo>
                  <a:lnTo>
                    <a:pt x="1290" y="219"/>
                  </a:lnTo>
                  <a:lnTo>
                    <a:pt x="1293" y="223"/>
                  </a:lnTo>
                  <a:lnTo>
                    <a:pt x="1297" y="228"/>
                  </a:lnTo>
                  <a:lnTo>
                    <a:pt x="1301" y="231"/>
                  </a:lnTo>
                  <a:lnTo>
                    <a:pt x="1307" y="236"/>
                  </a:lnTo>
                  <a:lnTo>
                    <a:pt x="1314" y="240"/>
                  </a:lnTo>
                  <a:lnTo>
                    <a:pt x="1321" y="242"/>
                  </a:lnTo>
                  <a:lnTo>
                    <a:pt x="1329" y="245"/>
                  </a:lnTo>
                  <a:lnTo>
                    <a:pt x="1338" y="248"/>
                  </a:lnTo>
                  <a:lnTo>
                    <a:pt x="1349" y="249"/>
                  </a:lnTo>
                  <a:lnTo>
                    <a:pt x="1359" y="251"/>
                  </a:lnTo>
                  <a:lnTo>
                    <a:pt x="1372" y="251"/>
                  </a:lnTo>
                  <a:lnTo>
                    <a:pt x="1384" y="251"/>
                  </a:lnTo>
                  <a:lnTo>
                    <a:pt x="1397" y="251"/>
                  </a:lnTo>
                  <a:lnTo>
                    <a:pt x="1408" y="250"/>
                  </a:lnTo>
                  <a:lnTo>
                    <a:pt x="1419" y="249"/>
                  </a:lnTo>
                  <a:lnTo>
                    <a:pt x="1429" y="246"/>
                  </a:lnTo>
                  <a:lnTo>
                    <a:pt x="1438" y="244"/>
                  </a:lnTo>
                  <a:lnTo>
                    <a:pt x="1448" y="242"/>
                  </a:lnTo>
                  <a:lnTo>
                    <a:pt x="1455" y="238"/>
                  </a:lnTo>
                  <a:lnTo>
                    <a:pt x="1461" y="235"/>
                  </a:lnTo>
                  <a:lnTo>
                    <a:pt x="1467" y="230"/>
                  </a:lnTo>
                  <a:lnTo>
                    <a:pt x="1472" y="227"/>
                  </a:lnTo>
                  <a:lnTo>
                    <a:pt x="1476" y="222"/>
                  </a:lnTo>
                  <a:lnTo>
                    <a:pt x="1480" y="218"/>
                  </a:lnTo>
                  <a:lnTo>
                    <a:pt x="1482" y="213"/>
                  </a:lnTo>
                  <a:lnTo>
                    <a:pt x="1485" y="208"/>
                  </a:lnTo>
                  <a:lnTo>
                    <a:pt x="1486" y="204"/>
                  </a:lnTo>
                  <a:lnTo>
                    <a:pt x="1486" y="199"/>
                  </a:lnTo>
                  <a:lnTo>
                    <a:pt x="1485" y="195"/>
                  </a:lnTo>
                  <a:lnTo>
                    <a:pt x="1483" y="189"/>
                  </a:lnTo>
                  <a:lnTo>
                    <a:pt x="1481" y="184"/>
                  </a:lnTo>
                  <a:lnTo>
                    <a:pt x="1479" y="180"/>
                  </a:lnTo>
                  <a:lnTo>
                    <a:pt x="1475" y="175"/>
                  </a:lnTo>
                  <a:lnTo>
                    <a:pt x="1471" y="172"/>
                  </a:lnTo>
                  <a:lnTo>
                    <a:pt x="1465" y="167"/>
                  </a:lnTo>
                  <a:lnTo>
                    <a:pt x="1459" y="163"/>
                  </a:lnTo>
                  <a:lnTo>
                    <a:pt x="1452" y="160"/>
                  </a:lnTo>
                  <a:lnTo>
                    <a:pt x="1445" y="157"/>
                  </a:lnTo>
                  <a:lnTo>
                    <a:pt x="1437" y="154"/>
                  </a:lnTo>
                  <a:lnTo>
                    <a:pt x="1429" y="152"/>
                  </a:lnTo>
                  <a:lnTo>
                    <a:pt x="1419" y="150"/>
                  </a:lnTo>
                  <a:lnTo>
                    <a:pt x="1408" y="148"/>
                  </a:lnTo>
                  <a:lnTo>
                    <a:pt x="1398" y="147"/>
                  </a:lnTo>
                  <a:lnTo>
                    <a:pt x="1387" y="147"/>
                  </a:lnTo>
                  <a:close/>
                  <a:moveTo>
                    <a:pt x="1387" y="0"/>
                  </a:moveTo>
                  <a:lnTo>
                    <a:pt x="1476" y="3"/>
                  </a:lnTo>
                  <a:lnTo>
                    <a:pt x="1565" y="11"/>
                  </a:lnTo>
                  <a:lnTo>
                    <a:pt x="1652" y="26"/>
                  </a:lnTo>
                  <a:lnTo>
                    <a:pt x="1736" y="46"/>
                  </a:lnTo>
                  <a:lnTo>
                    <a:pt x="1817" y="70"/>
                  </a:lnTo>
                  <a:lnTo>
                    <a:pt x="1898" y="99"/>
                  </a:lnTo>
                  <a:lnTo>
                    <a:pt x="1975" y="134"/>
                  </a:lnTo>
                  <a:lnTo>
                    <a:pt x="2050" y="172"/>
                  </a:lnTo>
                  <a:lnTo>
                    <a:pt x="2122" y="214"/>
                  </a:lnTo>
                  <a:lnTo>
                    <a:pt x="2191" y="261"/>
                  </a:lnTo>
                  <a:lnTo>
                    <a:pt x="2256" y="312"/>
                  </a:lnTo>
                  <a:lnTo>
                    <a:pt x="2319" y="366"/>
                  </a:lnTo>
                  <a:lnTo>
                    <a:pt x="2377" y="424"/>
                  </a:lnTo>
                  <a:lnTo>
                    <a:pt x="2433" y="485"/>
                  </a:lnTo>
                  <a:lnTo>
                    <a:pt x="2484" y="549"/>
                  </a:lnTo>
                  <a:lnTo>
                    <a:pt x="2533" y="616"/>
                  </a:lnTo>
                  <a:lnTo>
                    <a:pt x="2577" y="685"/>
                  </a:lnTo>
                  <a:lnTo>
                    <a:pt x="2617" y="758"/>
                  </a:lnTo>
                  <a:lnTo>
                    <a:pt x="2653" y="832"/>
                  </a:lnTo>
                  <a:lnTo>
                    <a:pt x="2684" y="908"/>
                  </a:lnTo>
                  <a:lnTo>
                    <a:pt x="2711" y="986"/>
                  </a:lnTo>
                  <a:lnTo>
                    <a:pt x="2733" y="1066"/>
                  </a:lnTo>
                  <a:lnTo>
                    <a:pt x="2751" y="1147"/>
                  </a:lnTo>
                  <a:lnTo>
                    <a:pt x="2763" y="1229"/>
                  </a:lnTo>
                  <a:lnTo>
                    <a:pt x="2770" y="1313"/>
                  </a:lnTo>
                  <a:lnTo>
                    <a:pt x="2772" y="1397"/>
                  </a:lnTo>
                  <a:lnTo>
                    <a:pt x="2769" y="1483"/>
                  </a:lnTo>
                  <a:lnTo>
                    <a:pt x="2761" y="1568"/>
                  </a:lnTo>
                  <a:lnTo>
                    <a:pt x="2746" y="1653"/>
                  </a:lnTo>
                  <a:lnTo>
                    <a:pt x="2726" y="1738"/>
                  </a:lnTo>
                  <a:lnTo>
                    <a:pt x="2700" y="1824"/>
                  </a:lnTo>
                  <a:lnTo>
                    <a:pt x="2668" y="1909"/>
                  </a:lnTo>
                  <a:lnTo>
                    <a:pt x="2654" y="1940"/>
                  </a:lnTo>
                  <a:lnTo>
                    <a:pt x="2640" y="1971"/>
                  </a:lnTo>
                  <a:lnTo>
                    <a:pt x="2625" y="2002"/>
                  </a:lnTo>
                  <a:lnTo>
                    <a:pt x="2609" y="2032"/>
                  </a:lnTo>
                  <a:lnTo>
                    <a:pt x="2593" y="2062"/>
                  </a:lnTo>
                  <a:lnTo>
                    <a:pt x="2575" y="2091"/>
                  </a:lnTo>
                  <a:lnTo>
                    <a:pt x="2557" y="2120"/>
                  </a:lnTo>
                  <a:lnTo>
                    <a:pt x="2539" y="2149"/>
                  </a:lnTo>
                  <a:lnTo>
                    <a:pt x="2519" y="2176"/>
                  </a:lnTo>
                  <a:lnTo>
                    <a:pt x="2499" y="2204"/>
                  </a:lnTo>
                  <a:lnTo>
                    <a:pt x="2479" y="2230"/>
                  </a:lnTo>
                  <a:lnTo>
                    <a:pt x="2457" y="2257"/>
                  </a:lnTo>
                  <a:lnTo>
                    <a:pt x="2435" y="2283"/>
                  </a:lnTo>
                  <a:lnTo>
                    <a:pt x="2412" y="2309"/>
                  </a:lnTo>
                  <a:lnTo>
                    <a:pt x="2389" y="2333"/>
                  </a:lnTo>
                  <a:lnTo>
                    <a:pt x="2366" y="2357"/>
                  </a:lnTo>
                  <a:lnTo>
                    <a:pt x="2342" y="2381"/>
                  </a:lnTo>
                  <a:lnTo>
                    <a:pt x="2316" y="2404"/>
                  </a:lnTo>
                  <a:lnTo>
                    <a:pt x="2291" y="2426"/>
                  </a:lnTo>
                  <a:lnTo>
                    <a:pt x="2264" y="2448"/>
                  </a:lnTo>
                  <a:lnTo>
                    <a:pt x="2238" y="2470"/>
                  </a:lnTo>
                  <a:lnTo>
                    <a:pt x="2211" y="2490"/>
                  </a:lnTo>
                  <a:lnTo>
                    <a:pt x="2184" y="2510"/>
                  </a:lnTo>
                  <a:lnTo>
                    <a:pt x="2156" y="2529"/>
                  </a:lnTo>
                  <a:lnTo>
                    <a:pt x="2127" y="2547"/>
                  </a:lnTo>
                  <a:lnTo>
                    <a:pt x="2099" y="2566"/>
                  </a:lnTo>
                  <a:lnTo>
                    <a:pt x="2069" y="2583"/>
                  </a:lnTo>
                  <a:lnTo>
                    <a:pt x="2039" y="2599"/>
                  </a:lnTo>
                  <a:lnTo>
                    <a:pt x="2009" y="2615"/>
                  </a:lnTo>
                  <a:lnTo>
                    <a:pt x="1978" y="2630"/>
                  </a:lnTo>
                  <a:lnTo>
                    <a:pt x="1946" y="2644"/>
                  </a:lnTo>
                  <a:lnTo>
                    <a:pt x="1915" y="2658"/>
                  </a:lnTo>
                  <a:lnTo>
                    <a:pt x="1861" y="2679"/>
                  </a:lnTo>
                  <a:lnTo>
                    <a:pt x="1806" y="2697"/>
                  </a:lnTo>
                  <a:lnTo>
                    <a:pt x="1751" y="2713"/>
                  </a:lnTo>
                  <a:lnTo>
                    <a:pt x="1694" y="2727"/>
                  </a:lnTo>
                  <a:lnTo>
                    <a:pt x="1638" y="2738"/>
                  </a:lnTo>
                  <a:lnTo>
                    <a:pt x="1582" y="2748"/>
                  </a:lnTo>
                  <a:lnTo>
                    <a:pt x="1526" y="2753"/>
                  </a:lnTo>
                  <a:lnTo>
                    <a:pt x="1468" y="2758"/>
                  </a:lnTo>
                  <a:lnTo>
                    <a:pt x="1412" y="2759"/>
                  </a:lnTo>
                  <a:lnTo>
                    <a:pt x="1355" y="2759"/>
                  </a:lnTo>
                  <a:lnTo>
                    <a:pt x="1299" y="2756"/>
                  </a:lnTo>
                  <a:lnTo>
                    <a:pt x="1244" y="2751"/>
                  </a:lnTo>
                  <a:lnTo>
                    <a:pt x="1187" y="2744"/>
                  </a:lnTo>
                  <a:lnTo>
                    <a:pt x="1132" y="2734"/>
                  </a:lnTo>
                  <a:lnTo>
                    <a:pt x="1077" y="2722"/>
                  </a:lnTo>
                  <a:lnTo>
                    <a:pt x="1023" y="2708"/>
                  </a:lnTo>
                  <a:lnTo>
                    <a:pt x="968" y="2693"/>
                  </a:lnTo>
                  <a:lnTo>
                    <a:pt x="915" y="2675"/>
                  </a:lnTo>
                  <a:lnTo>
                    <a:pt x="864" y="2655"/>
                  </a:lnTo>
                  <a:lnTo>
                    <a:pt x="812" y="2634"/>
                  </a:lnTo>
                  <a:lnTo>
                    <a:pt x="761" y="2609"/>
                  </a:lnTo>
                  <a:lnTo>
                    <a:pt x="710" y="2583"/>
                  </a:lnTo>
                  <a:lnTo>
                    <a:pt x="662" y="2555"/>
                  </a:lnTo>
                  <a:lnTo>
                    <a:pt x="615" y="2526"/>
                  </a:lnTo>
                  <a:lnTo>
                    <a:pt x="568" y="2494"/>
                  </a:lnTo>
                  <a:lnTo>
                    <a:pt x="523" y="2461"/>
                  </a:lnTo>
                  <a:lnTo>
                    <a:pt x="479" y="2426"/>
                  </a:lnTo>
                  <a:lnTo>
                    <a:pt x="436" y="2388"/>
                  </a:lnTo>
                  <a:lnTo>
                    <a:pt x="396" y="2350"/>
                  </a:lnTo>
                  <a:lnTo>
                    <a:pt x="356" y="2310"/>
                  </a:lnTo>
                  <a:lnTo>
                    <a:pt x="318" y="2267"/>
                  </a:lnTo>
                  <a:lnTo>
                    <a:pt x="282" y="2223"/>
                  </a:lnTo>
                  <a:lnTo>
                    <a:pt x="261" y="2197"/>
                  </a:lnTo>
                  <a:lnTo>
                    <a:pt x="242" y="2169"/>
                  </a:lnTo>
                  <a:lnTo>
                    <a:pt x="222" y="2142"/>
                  </a:lnTo>
                  <a:lnTo>
                    <a:pt x="203" y="2113"/>
                  </a:lnTo>
                  <a:lnTo>
                    <a:pt x="186" y="2084"/>
                  </a:lnTo>
                  <a:lnTo>
                    <a:pt x="170" y="2055"/>
                  </a:lnTo>
                  <a:lnTo>
                    <a:pt x="154" y="2025"/>
                  </a:lnTo>
                  <a:lnTo>
                    <a:pt x="139" y="1995"/>
                  </a:lnTo>
                  <a:lnTo>
                    <a:pt x="124" y="1964"/>
                  </a:lnTo>
                  <a:lnTo>
                    <a:pt x="110" y="1933"/>
                  </a:lnTo>
                  <a:lnTo>
                    <a:pt x="98" y="1902"/>
                  </a:lnTo>
                  <a:lnTo>
                    <a:pt x="86" y="1871"/>
                  </a:lnTo>
                  <a:lnTo>
                    <a:pt x="74" y="1839"/>
                  </a:lnTo>
                  <a:lnTo>
                    <a:pt x="64" y="1806"/>
                  </a:lnTo>
                  <a:lnTo>
                    <a:pt x="54" y="1774"/>
                  </a:lnTo>
                  <a:lnTo>
                    <a:pt x="45" y="1742"/>
                  </a:lnTo>
                  <a:lnTo>
                    <a:pt x="36" y="1710"/>
                  </a:lnTo>
                  <a:lnTo>
                    <a:pt x="30" y="1676"/>
                  </a:lnTo>
                  <a:lnTo>
                    <a:pt x="23" y="1643"/>
                  </a:lnTo>
                  <a:lnTo>
                    <a:pt x="17" y="1609"/>
                  </a:lnTo>
                  <a:lnTo>
                    <a:pt x="12" y="1576"/>
                  </a:lnTo>
                  <a:lnTo>
                    <a:pt x="9" y="1543"/>
                  </a:lnTo>
                  <a:lnTo>
                    <a:pt x="5" y="1509"/>
                  </a:lnTo>
                  <a:lnTo>
                    <a:pt x="3" y="1475"/>
                  </a:lnTo>
                  <a:lnTo>
                    <a:pt x="1" y="1441"/>
                  </a:lnTo>
                  <a:lnTo>
                    <a:pt x="0" y="1408"/>
                  </a:lnTo>
                  <a:lnTo>
                    <a:pt x="0" y="1373"/>
                  </a:lnTo>
                  <a:lnTo>
                    <a:pt x="1" y="1340"/>
                  </a:lnTo>
                  <a:lnTo>
                    <a:pt x="2" y="1305"/>
                  </a:lnTo>
                  <a:lnTo>
                    <a:pt x="4" y="1272"/>
                  </a:lnTo>
                  <a:lnTo>
                    <a:pt x="8" y="1238"/>
                  </a:lnTo>
                  <a:lnTo>
                    <a:pt x="12" y="1205"/>
                  </a:lnTo>
                  <a:lnTo>
                    <a:pt x="20" y="1149"/>
                  </a:lnTo>
                  <a:lnTo>
                    <a:pt x="32" y="1094"/>
                  </a:lnTo>
                  <a:lnTo>
                    <a:pt x="45" y="1039"/>
                  </a:lnTo>
                  <a:lnTo>
                    <a:pt x="59" y="985"/>
                  </a:lnTo>
                  <a:lnTo>
                    <a:pt x="77" y="932"/>
                  </a:lnTo>
                  <a:lnTo>
                    <a:pt x="96" y="879"/>
                  </a:lnTo>
                  <a:lnTo>
                    <a:pt x="118" y="827"/>
                  </a:lnTo>
                  <a:lnTo>
                    <a:pt x="142" y="775"/>
                  </a:lnTo>
                  <a:lnTo>
                    <a:pt x="168" y="726"/>
                  </a:lnTo>
                  <a:lnTo>
                    <a:pt x="195" y="676"/>
                  </a:lnTo>
                  <a:lnTo>
                    <a:pt x="210" y="652"/>
                  </a:lnTo>
                  <a:lnTo>
                    <a:pt x="227" y="628"/>
                  </a:lnTo>
                  <a:lnTo>
                    <a:pt x="242" y="604"/>
                  </a:lnTo>
                  <a:lnTo>
                    <a:pt x="258" y="581"/>
                  </a:lnTo>
                  <a:lnTo>
                    <a:pt x="275" y="557"/>
                  </a:lnTo>
                  <a:lnTo>
                    <a:pt x="292" y="534"/>
                  </a:lnTo>
                  <a:lnTo>
                    <a:pt x="311" y="513"/>
                  </a:lnTo>
                  <a:lnTo>
                    <a:pt x="328" y="491"/>
                  </a:lnTo>
                  <a:lnTo>
                    <a:pt x="347" y="469"/>
                  </a:lnTo>
                  <a:lnTo>
                    <a:pt x="367" y="447"/>
                  </a:lnTo>
                  <a:lnTo>
                    <a:pt x="387" y="426"/>
                  </a:lnTo>
                  <a:lnTo>
                    <a:pt x="406" y="405"/>
                  </a:lnTo>
                  <a:lnTo>
                    <a:pt x="406" y="405"/>
                  </a:lnTo>
                  <a:lnTo>
                    <a:pt x="432" y="381"/>
                  </a:lnTo>
                  <a:lnTo>
                    <a:pt x="457" y="357"/>
                  </a:lnTo>
                  <a:lnTo>
                    <a:pt x="482" y="334"/>
                  </a:lnTo>
                  <a:lnTo>
                    <a:pt x="509" y="312"/>
                  </a:lnTo>
                  <a:lnTo>
                    <a:pt x="535" y="290"/>
                  </a:lnTo>
                  <a:lnTo>
                    <a:pt x="563" y="269"/>
                  </a:lnTo>
                  <a:lnTo>
                    <a:pt x="589" y="250"/>
                  </a:lnTo>
                  <a:lnTo>
                    <a:pt x="617" y="230"/>
                  </a:lnTo>
                  <a:lnTo>
                    <a:pt x="646" y="212"/>
                  </a:lnTo>
                  <a:lnTo>
                    <a:pt x="674" y="195"/>
                  </a:lnTo>
                  <a:lnTo>
                    <a:pt x="702" y="177"/>
                  </a:lnTo>
                  <a:lnTo>
                    <a:pt x="732" y="161"/>
                  </a:lnTo>
                  <a:lnTo>
                    <a:pt x="761" y="146"/>
                  </a:lnTo>
                  <a:lnTo>
                    <a:pt x="791" y="131"/>
                  </a:lnTo>
                  <a:lnTo>
                    <a:pt x="821" y="117"/>
                  </a:lnTo>
                  <a:lnTo>
                    <a:pt x="852" y="104"/>
                  </a:lnTo>
                  <a:lnTo>
                    <a:pt x="883" y="91"/>
                  </a:lnTo>
                  <a:lnTo>
                    <a:pt x="914" y="79"/>
                  </a:lnTo>
                  <a:lnTo>
                    <a:pt x="945" y="69"/>
                  </a:lnTo>
                  <a:lnTo>
                    <a:pt x="978" y="59"/>
                  </a:lnTo>
                  <a:lnTo>
                    <a:pt x="1010" y="49"/>
                  </a:lnTo>
                  <a:lnTo>
                    <a:pt x="1043" y="41"/>
                  </a:lnTo>
                  <a:lnTo>
                    <a:pt x="1076" y="33"/>
                  </a:lnTo>
                  <a:lnTo>
                    <a:pt x="1109" y="26"/>
                  </a:lnTo>
                  <a:lnTo>
                    <a:pt x="1142" y="21"/>
                  </a:lnTo>
                  <a:lnTo>
                    <a:pt x="1177" y="15"/>
                  </a:lnTo>
                  <a:lnTo>
                    <a:pt x="1210" y="10"/>
                  </a:lnTo>
                  <a:lnTo>
                    <a:pt x="1245" y="7"/>
                  </a:lnTo>
                  <a:lnTo>
                    <a:pt x="1279" y="4"/>
                  </a:lnTo>
                  <a:lnTo>
                    <a:pt x="1315" y="2"/>
                  </a:lnTo>
                  <a:lnTo>
                    <a:pt x="1351" y="1"/>
                  </a:lnTo>
                  <a:lnTo>
                    <a:pt x="1387" y="0"/>
                  </a:lnTo>
                  <a:close/>
                  <a:moveTo>
                    <a:pt x="2327" y="446"/>
                  </a:moveTo>
                  <a:lnTo>
                    <a:pt x="2314" y="432"/>
                  </a:lnTo>
                  <a:lnTo>
                    <a:pt x="2319" y="447"/>
                  </a:lnTo>
                  <a:lnTo>
                    <a:pt x="2322" y="462"/>
                  </a:lnTo>
                  <a:lnTo>
                    <a:pt x="2325" y="477"/>
                  </a:lnTo>
                  <a:lnTo>
                    <a:pt x="2328" y="492"/>
                  </a:lnTo>
                  <a:lnTo>
                    <a:pt x="2352" y="511"/>
                  </a:lnTo>
                  <a:lnTo>
                    <a:pt x="2375" y="532"/>
                  </a:lnTo>
                  <a:lnTo>
                    <a:pt x="2398" y="553"/>
                  </a:lnTo>
                  <a:lnTo>
                    <a:pt x="2421" y="574"/>
                  </a:lnTo>
                  <a:lnTo>
                    <a:pt x="2443" y="596"/>
                  </a:lnTo>
                  <a:lnTo>
                    <a:pt x="2464" y="619"/>
                  </a:lnTo>
                  <a:lnTo>
                    <a:pt x="2484" y="642"/>
                  </a:lnTo>
                  <a:lnTo>
                    <a:pt x="2505" y="665"/>
                  </a:lnTo>
                  <a:lnTo>
                    <a:pt x="2486" y="636"/>
                  </a:lnTo>
                  <a:lnTo>
                    <a:pt x="2465" y="607"/>
                  </a:lnTo>
                  <a:lnTo>
                    <a:pt x="2444" y="578"/>
                  </a:lnTo>
                  <a:lnTo>
                    <a:pt x="2422" y="551"/>
                  </a:lnTo>
                  <a:lnTo>
                    <a:pt x="2399" y="523"/>
                  </a:lnTo>
                  <a:lnTo>
                    <a:pt x="2376" y="496"/>
                  </a:lnTo>
                  <a:lnTo>
                    <a:pt x="2352" y="470"/>
                  </a:lnTo>
                  <a:lnTo>
                    <a:pt x="2327" y="446"/>
                  </a:lnTo>
                  <a:close/>
                  <a:moveTo>
                    <a:pt x="2203" y="336"/>
                  </a:moveTo>
                  <a:lnTo>
                    <a:pt x="2181" y="320"/>
                  </a:lnTo>
                  <a:lnTo>
                    <a:pt x="2158" y="302"/>
                  </a:lnTo>
                  <a:lnTo>
                    <a:pt x="2134" y="284"/>
                  </a:lnTo>
                  <a:lnTo>
                    <a:pt x="2109" y="267"/>
                  </a:lnTo>
                  <a:lnTo>
                    <a:pt x="2084" y="250"/>
                  </a:lnTo>
                  <a:lnTo>
                    <a:pt x="2058" y="235"/>
                  </a:lnTo>
                  <a:lnTo>
                    <a:pt x="2033" y="222"/>
                  </a:lnTo>
                  <a:lnTo>
                    <a:pt x="2008" y="212"/>
                  </a:lnTo>
                  <a:lnTo>
                    <a:pt x="2018" y="223"/>
                  </a:lnTo>
                  <a:lnTo>
                    <a:pt x="2029" y="237"/>
                  </a:lnTo>
                  <a:lnTo>
                    <a:pt x="2039" y="251"/>
                  </a:lnTo>
                  <a:lnTo>
                    <a:pt x="2048" y="265"/>
                  </a:lnTo>
                  <a:lnTo>
                    <a:pt x="2055" y="280"/>
                  </a:lnTo>
                  <a:lnTo>
                    <a:pt x="2062" y="295"/>
                  </a:lnTo>
                  <a:lnTo>
                    <a:pt x="2067" y="310"/>
                  </a:lnTo>
                  <a:lnTo>
                    <a:pt x="2071" y="327"/>
                  </a:lnTo>
                  <a:lnTo>
                    <a:pt x="2097" y="340"/>
                  </a:lnTo>
                  <a:lnTo>
                    <a:pt x="2123" y="354"/>
                  </a:lnTo>
                  <a:lnTo>
                    <a:pt x="2148" y="369"/>
                  </a:lnTo>
                  <a:lnTo>
                    <a:pt x="2173" y="384"/>
                  </a:lnTo>
                  <a:lnTo>
                    <a:pt x="2199" y="400"/>
                  </a:lnTo>
                  <a:lnTo>
                    <a:pt x="2224" y="416"/>
                  </a:lnTo>
                  <a:lnTo>
                    <a:pt x="2248" y="432"/>
                  </a:lnTo>
                  <a:lnTo>
                    <a:pt x="2271" y="449"/>
                  </a:lnTo>
                  <a:lnTo>
                    <a:pt x="2266" y="434"/>
                  </a:lnTo>
                  <a:lnTo>
                    <a:pt x="2259" y="418"/>
                  </a:lnTo>
                  <a:lnTo>
                    <a:pt x="2252" y="403"/>
                  </a:lnTo>
                  <a:lnTo>
                    <a:pt x="2244" y="389"/>
                  </a:lnTo>
                  <a:lnTo>
                    <a:pt x="2234" y="375"/>
                  </a:lnTo>
                  <a:lnTo>
                    <a:pt x="2224" y="362"/>
                  </a:lnTo>
                  <a:lnTo>
                    <a:pt x="2214" y="349"/>
                  </a:lnTo>
                  <a:lnTo>
                    <a:pt x="2203" y="336"/>
                  </a:lnTo>
                  <a:close/>
                  <a:moveTo>
                    <a:pt x="740" y="223"/>
                  </a:moveTo>
                  <a:lnTo>
                    <a:pt x="702" y="244"/>
                  </a:lnTo>
                  <a:lnTo>
                    <a:pt x="663" y="266"/>
                  </a:lnTo>
                  <a:lnTo>
                    <a:pt x="645" y="278"/>
                  </a:lnTo>
                  <a:lnTo>
                    <a:pt x="625" y="290"/>
                  </a:lnTo>
                  <a:lnTo>
                    <a:pt x="607" y="303"/>
                  </a:lnTo>
                  <a:lnTo>
                    <a:pt x="589" y="316"/>
                  </a:lnTo>
                  <a:lnTo>
                    <a:pt x="572" y="329"/>
                  </a:lnTo>
                  <a:lnTo>
                    <a:pt x="556" y="344"/>
                  </a:lnTo>
                  <a:lnTo>
                    <a:pt x="541" y="359"/>
                  </a:lnTo>
                  <a:lnTo>
                    <a:pt x="526" y="377"/>
                  </a:lnTo>
                  <a:lnTo>
                    <a:pt x="513" y="394"/>
                  </a:lnTo>
                  <a:lnTo>
                    <a:pt x="503" y="412"/>
                  </a:lnTo>
                  <a:lnTo>
                    <a:pt x="493" y="432"/>
                  </a:lnTo>
                  <a:lnTo>
                    <a:pt x="486" y="453"/>
                  </a:lnTo>
                  <a:lnTo>
                    <a:pt x="509" y="435"/>
                  </a:lnTo>
                  <a:lnTo>
                    <a:pt x="534" y="419"/>
                  </a:lnTo>
                  <a:lnTo>
                    <a:pt x="558" y="402"/>
                  </a:lnTo>
                  <a:lnTo>
                    <a:pt x="584" y="387"/>
                  </a:lnTo>
                  <a:lnTo>
                    <a:pt x="609" y="371"/>
                  </a:lnTo>
                  <a:lnTo>
                    <a:pt x="634" y="356"/>
                  </a:lnTo>
                  <a:lnTo>
                    <a:pt x="660" y="342"/>
                  </a:lnTo>
                  <a:lnTo>
                    <a:pt x="686" y="328"/>
                  </a:lnTo>
                  <a:lnTo>
                    <a:pt x="690" y="313"/>
                  </a:lnTo>
                  <a:lnTo>
                    <a:pt x="694" y="299"/>
                  </a:lnTo>
                  <a:lnTo>
                    <a:pt x="700" y="286"/>
                  </a:lnTo>
                  <a:lnTo>
                    <a:pt x="707" y="272"/>
                  </a:lnTo>
                  <a:lnTo>
                    <a:pt x="714" y="259"/>
                  </a:lnTo>
                  <a:lnTo>
                    <a:pt x="722" y="246"/>
                  </a:lnTo>
                  <a:lnTo>
                    <a:pt x="731" y="235"/>
                  </a:lnTo>
                  <a:lnTo>
                    <a:pt x="740" y="223"/>
                  </a:lnTo>
                  <a:close/>
                  <a:moveTo>
                    <a:pt x="439" y="453"/>
                  </a:moveTo>
                  <a:lnTo>
                    <a:pt x="400" y="493"/>
                  </a:lnTo>
                  <a:lnTo>
                    <a:pt x="364" y="534"/>
                  </a:lnTo>
                  <a:lnTo>
                    <a:pt x="346" y="555"/>
                  </a:lnTo>
                  <a:lnTo>
                    <a:pt x="329" y="577"/>
                  </a:lnTo>
                  <a:lnTo>
                    <a:pt x="312" y="599"/>
                  </a:lnTo>
                  <a:lnTo>
                    <a:pt x="296" y="622"/>
                  </a:lnTo>
                  <a:lnTo>
                    <a:pt x="328" y="589"/>
                  </a:lnTo>
                  <a:lnTo>
                    <a:pt x="361" y="556"/>
                  </a:lnTo>
                  <a:lnTo>
                    <a:pt x="395" y="525"/>
                  </a:lnTo>
                  <a:lnTo>
                    <a:pt x="429" y="496"/>
                  </a:lnTo>
                  <a:lnTo>
                    <a:pt x="432" y="485"/>
                  </a:lnTo>
                  <a:lnTo>
                    <a:pt x="433" y="475"/>
                  </a:lnTo>
                  <a:lnTo>
                    <a:pt x="435" y="463"/>
                  </a:lnTo>
                  <a:lnTo>
                    <a:pt x="439" y="453"/>
                  </a:lnTo>
                  <a:close/>
                  <a:moveTo>
                    <a:pt x="57" y="1450"/>
                  </a:moveTo>
                  <a:lnTo>
                    <a:pt x="65" y="1478"/>
                  </a:lnTo>
                  <a:lnTo>
                    <a:pt x="74" y="1506"/>
                  </a:lnTo>
                  <a:lnTo>
                    <a:pt x="87" y="1531"/>
                  </a:lnTo>
                  <a:lnTo>
                    <a:pt x="100" y="1556"/>
                  </a:lnTo>
                  <a:lnTo>
                    <a:pt x="115" y="1581"/>
                  </a:lnTo>
                  <a:lnTo>
                    <a:pt x="131" y="1605"/>
                  </a:lnTo>
                  <a:lnTo>
                    <a:pt x="149" y="1627"/>
                  </a:lnTo>
                  <a:lnTo>
                    <a:pt x="168" y="1649"/>
                  </a:lnTo>
                  <a:lnTo>
                    <a:pt x="171" y="1620"/>
                  </a:lnTo>
                  <a:lnTo>
                    <a:pt x="175" y="1592"/>
                  </a:lnTo>
                  <a:lnTo>
                    <a:pt x="179" y="1563"/>
                  </a:lnTo>
                  <a:lnTo>
                    <a:pt x="184" y="1536"/>
                  </a:lnTo>
                  <a:lnTo>
                    <a:pt x="190" y="1508"/>
                  </a:lnTo>
                  <a:lnTo>
                    <a:pt x="195" y="1480"/>
                  </a:lnTo>
                  <a:lnTo>
                    <a:pt x="202" y="1453"/>
                  </a:lnTo>
                  <a:lnTo>
                    <a:pt x="210" y="1425"/>
                  </a:lnTo>
                  <a:lnTo>
                    <a:pt x="227" y="1371"/>
                  </a:lnTo>
                  <a:lnTo>
                    <a:pt x="245" y="1317"/>
                  </a:lnTo>
                  <a:lnTo>
                    <a:pt x="266" y="1264"/>
                  </a:lnTo>
                  <a:lnTo>
                    <a:pt x="288" y="1211"/>
                  </a:lnTo>
                  <a:lnTo>
                    <a:pt x="273" y="1197"/>
                  </a:lnTo>
                  <a:lnTo>
                    <a:pt x="259" y="1182"/>
                  </a:lnTo>
                  <a:lnTo>
                    <a:pt x="246" y="1167"/>
                  </a:lnTo>
                  <a:lnTo>
                    <a:pt x="233" y="1151"/>
                  </a:lnTo>
                  <a:lnTo>
                    <a:pt x="222" y="1135"/>
                  </a:lnTo>
                  <a:lnTo>
                    <a:pt x="210" y="1119"/>
                  </a:lnTo>
                  <a:lnTo>
                    <a:pt x="199" y="1101"/>
                  </a:lnTo>
                  <a:lnTo>
                    <a:pt x="190" y="1084"/>
                  </a:lnTo>
                  <a:lnTo>
                    <a:pt x="180" y="1067"/>
                  </a:lnTo>
                  <a:lnTo>
                    <a:pt x="171" y="1048"/>
                  </a:lnTo>
                  <a:lnTo>
                    <a:pt x="163" y="1030"/>
                  </a:lnTo>
                  <a:lnTo>
                    <a:pt x="156" y="1011"/>
                  </a:lnTo>
                  <a:lnTo>
                    <a:pt x="151" y="992"/>
                  </a:lnTo>
                  <a:lnTo>
                    <a:pt x="145" y="972"/>
                  </a:lnTo>
                  <a:lnTo>
                    <a:pt x="141" y="953"/>
                  </a:lnTo>
                  <a:lnTo>
                    <a:pt x="138" y="933"/>
                  </a:lnTo>
                  <a:lnTo>
                    <a:pt x="125" y="963"/>
                  </a:lnTo>
                  <a:lnTo>
                    <a:pt x="114" y="993"/>
                  </a:lnTo>
                  <a:lnTo>
                    <a:pt x="103" y="1024"/>
                  </a:lnTo>
                  <a:lnTo>
                    <a:pt x="94" y="1056"/>
                  </a:lnTo>
                  <a:lnTo>
                    <a:pt x="86" y="1089"/>
                  </a:lnTo>
                  <a:lnTo>
                    <a:pt x="79" y="1121"/>
                  </a:lnTo>
                  <a:lnTo>
                    <a:pt x="72" y="1154"/>
                  </a:lnTo>
                  <a:lnTo>
                    <a:pt x="68" y="1187"/>
                  </a:lnTo>
                  <a:lnTo>
                    <a:pt x="63" y="1220"/>
                  </a:lnTo>
                  <a:lnTo>
                    <a:pt x="59" y="1253"/>
                  </a:lnTo>
                  <a:lnTo>
                    <a:pt x="57" y="1287"/>
                  </a:lnTo>
                  <a:lnTo>
                    <a:pt x="56" y="1320"/>
                  </a:lnTo>
                  <a:lnTo>
                    <a:pt x="55" y="1354"/>
                  </a:lnTo>
                  <a:lnTo>
                    <a:pt x="55" y="1386"/>
                  </a:lnTo>
                  <a:lnTo>
                    <a:pt x="55" y="1418"/>
                  </a:lnTo>
                  <a:lnTo>
                    <a:pt x="57" y="1450"/>
                  </a:lnTo>
                  <a:close/>
                  <a:moveTo>
                    <a:pt x="71" y="1586"/>
                  </a:moveTo>
                  <a:lnTo>
                    <a:pt x="79" y="1636"/>
                  </a:lnTo>
                  <a:lnTo>
                    <a:pt x="91" y="1685"/>
                  </a:lnTo>
                  <a:lnTo>
                    <a:pt x="102" y="1734"/>
                  </a:lnTo>
                  <a:lnTo>
                    <a:pt x="117" y="1781"/>
                  </a:lnTo>
                  <a:lnTo>
                    <a:pt x="133" y="1828"/>
                  </a:lnTo>
                  <a:lnTo>
                    <a:pt x="151" y="1875"/>
                  </a:lnTo>
                  <a:lnTo>
                    <a:pt x="170" y="1922"/>
                  </a:lnTo>
                  <a:lnTo>
                    <a:pt x="192" y="1967"/>
                  </a:lnTo>
                  <a:lnTo>
                    <a:pt x="184" y="1934"/>
                  </a:lnTo>
                  <a:lnTo>
                    <a:pt x="178" y="1901"/>
                  </a:lnTo>
                  <a:lnTo>
                    <a:pt x="172" y="1869"/>
                  </a:lnTo>
                  <a:lnTo>
                    <a:pt x="169" y="1835"/>
                  </a:lnTo>
                  <a:lnTo>
                    <a:pt x="165" y="1802"/>
                  </a:lnTo>
                  <a:lnTo>
                    <a:pt x="164" y="1768"/>
                  </a:lnTo>
                  <a:lnTo>
                    <a:pt x="164" y="1735"/>
                  </a:lnTo>
                  <a:lnTo>
                    <a:pt x="164" y="1702"/>
                  </a:lnTo>
                  <a:lnTo>
                    <a:pt x="139" y="1675"/>
                  </a:lnTo>
                  <a:lnTo>
                    <a:pt x="114" y="1647"/>
                  </a:lnTo>
                  <a:lnTo>
                    <a:pt x="102" y="1632"/>
                  </a:lnTo>
                  <a:lnTo>
                    <a:pt x="92" y="1617"/>
                  </a:lnTo>
                  <a:lnTo>
                    <a:pt x="80" y="1602"/>
                  </a:lnTo>
                  <a:lnTo>
                    <a:pt x="71" y="1586"/>
                  </a:lnTo>
                  <a:close/>
                  <a:moveTo>
                    <a:pt x="965" y="2638"/>
                  </a:moveTo>
                  <a:lnTo>
                    <a:pt x="1016" y="2654"/>
                  </a:lnTo>
                  <a:lnTo>
                    <a:pt x="1065" y="2668"/>
                  </a:lnTo>
                  <a:lnTo>
                    <a:pt x="1117" y="2680"/>
                  </a:lnTo>
                  <a:lnTo>
                    <a:pt x="1168" y="2689"/>
                  </a:lnTo>
                  <a:lnTo>
                    <a:pt x="1220" y="2696"/>
                  </a:lnTo>
                  <a:lnTo>
                    <a:pt x="1271" y="2702"/>
                  </a:lnTo>
                  <a:lnTo>
                    <a:pt x="1323" y="2705"/>
                  </a:lnTo>
                  <a:lnTo>
                    <a:pt x="1375" y="2706"/>
                  </a:lnTo>
                  <a:lnTo>
                    <a:pt x="1375" y="2703"/>
                  </a:lnTo>
                  <a:lnTo>
                    <a:pt x="1324" y="2700"/>
                  </a:lnTo>
                  <a:lnTo>
                    <a:pt x="1273" y="2697"/>
                  </a:lnTo>
                  <a:lnTo>
                    <a:pt x="1222" y="2692"/>
                  </a:lnTo>
                  <a:lnTo>
                    <a:pt x="1171" y="2685"/>
                  </a:lnTo>
                  <a:lnTo>
                    <a:pt x="1120" y="2676"/>
                  </a:lnTo>
                  <a:lnTo>
                    <a:pt x="1070" y="2666"/>
                  </a:lnTo>
                  <a:lnTo>
                    <a:pt x="1020" y="2654"/>
                  </a:lnTo>
                  <a:lnTo>
                    <a:pt x="971" y="2640"/>
                  </a:lnTo>
                  <a:lnTo>
                    <a:pt x="971" y="2640"/>
                  </a:lnTo>
                  <a:lnTo>
                    <a:pt x="965" y="2638"/>
                  </a:lnTo>
                  <a:close/>
                  <a:moveTo>
                    <a:pt x="1414" y="2706"/>
                  </a:moveTo>
                  <a:lnTo>
                    <a:pt x="1437" y="2706"/>
                  </a:lnTo>
                  <a:lnTo>
                    <a:pt x="1460" y="2705"/>
                  </a:lnTo>
                  <a:lnTo>
                    <a:pt x="1483" y="2703"/>
                  </a:lnTo>
                  <a:lnTo>
                    <a:pt x="1505" y="2702"/>
                  </a:lnTo>
                  <a:lnTo>
                    <a:pt x="1528" y="2699"/>
                  </a:lnTo>
                  <a:lnTo>
                    <a:pt x="1551" y="2697"/>
                  </a:lnTo>
                  <a:lnTo>
                    <a:pt x="1573" y="2693"/>
                  </a:lnTo>
                  <a:lnTo>
                    <a:pt x="1595" y="2690"/>
                  </a:lnTo>
                  <a:lnTo>
                    <a:pt x="1573" y="2693"/>
                  </a:lnTo>
                  <a:lnTo>
                    <a:pt x="1550" y="2696"/>
                  </a:lnTo>
                  <a:lnTo>
                    <a:pt x="1527" y="2698"/>
                  </a:lnTo>
                  <a:lnTo>
                    <a:pt x="1505" y="2699"/>
                  </a:lnTo>
                  <a:lnTo>
                    <a:pt x="1482" y="2700"/>
                  </a:lnTo>
                  <a:lnTo>
                    <a:pt x="1459" y="2702"/>
                  </a:lnTo>
                  <a:lnTo>
                    <a:pt x="1437" y="2703"/>
                  </a:lnTo>
                  <a:lnTo>
                    <a:pt x="1414" y="2703"/>
                  </a:lnTo>
                  <a:lnTo>
                    <a:pt x="1414" y="2706"/>
                  </a:lnTo>
                  <a:close/>
                  <a:moveTo>
                    <a:pt x="2567" y="1991"/>
                  </a:moveTo>
                  <a:lnTo>
                    <a:pt x="2580" y="1968"/>
                  </a:lnTo>
                  <a:lnTo>
                    <a:pt x="2593" y="1942"/>
                  </a:lnTo>
                  <a:lnTo>
                    <a:pt x="2607" y="1916"/>
                  </a:lnTo>
                  <a:lnTo>
                    <a:pt x="2619" y="1888"/>
                  </a:lnTo>
                  <a:lnTo>
                    <a:pt x="2632" y="1861"/>
                  </a:lnTo>
                  <a:lnTo>
                    <a:pt x="2642" y="1833"/>
                  </a:lnTo>
                  <a:lnTo>
                    <a:pt x="2647" y="1819"/>
                  </a:lnTo>
                  <a:lnTo>
                    <a:pt x="2650" y="1806"/>
                  </a:lnTo>
                  <a:lnTo>
                    <a:pt x="2653" y="1794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0"/>
                  </a:lnTo>
                  <a:lnTo>
                    <a:pt x="2655" y="1780"/>
                  </a:lnTo>
                  <a:lnTo>
                    <a:pt x="2655" y="1780"/>
                  </a:lnTo>
                  <a:lnTo>
                    <a:pt x="2656" y="1770"/>
                  </a:lnTo>
                  <a:lnTo>
                    <a:pt x="2658" y="1770"/>
                  </a:lnTo>
                  <a:lnTo>
                    <a:pt x="2666" y="1743"/>
                  </a:lnTo>
                  <a:lnTo>
                    <a:pt x="2675" y="1717"/>
                  </a:lnTo>
                  <a:lnTo>
                    <a:pt x="2681" y="1689"/>
                  </a:lnTo>
                  <a:lnTo>
                    <a:pt x="2687" y="1662"/>
                  </a:lnTo>
                  <a:lnTo>
                    <a:pt x="2693" y="1635"/>
                  </a:lnTo>
                  <a:lnTo>
                    <a:pt x="2698" y="1608"/>
                  </a:lnTo>
                  <a:lnTo>
                    <a:pt x="2702" y="1581"/>
                  </a:lnTo>
                  <a:lnTo>
                    <a:pt x="2706" y="1553"/>
                  </a:lnTo>
                  <a:lnTo>
                    <a:pt x="2695" y="1572"/>
                  </a:lnTo>
                  <a:lnTo>
                    <a:pt x="2683" y="1592"/>
                  </a:lnTo>
                  <a:lnTo>
                    <a:pt x="2670" y="1611"/>
                  </a:lnTo>
                  <a:lnTo>
                    <a:pt x="2656" y="1629"/>
                  </a:lnTo>
                  <a:lnTo>
                    <a:pt x="2642" y="1646"/>
                  </a:lnTo>
                  <a:lnTo>
                    <a:pt x="2627" y="1662"/>
                  </a:lnTo>
                  <a:lnTo>
                    <a:pt x="2611" y="1678"/>
                  </a:lnTo>
                  <a:lnTo>
                    <a:pt x="2595" y="1695"/>
                  </a:lnTo>
                  <a:lnTo>
                    <a:pt x="2596" y="1734"/>
                  </a:lnTo>
                  <a:lnTo>
                    <a:pt x="2596" y="1774"/>
                  </a:lnTo>
                  <a:lnTo>
                    <a:pt x="2594" y="1813"/>
                  </a:lnTo>
                  <a:lnTo>
                    <a:pt x="2590" y="1852"/>
                  </a:lnTo>
                  <a:lnTo>
                    <a:pt x="2586" y="1892"/>
                  </a:lnTo>
                  <a:lnTo>
                    <a:pt x="2579" y="1931"/>
                  </a:lnTo>
                  <a:lnTo>
                    <a:pt x="2570" y="1970"/>
                  </a:lnTo>
                  <a:lnTo>
                    <a:pt x="2558" y="2008"/>
                  </a:lnTo>
                  <a:lnTo>
                    <a:pt x="2563" y="1998"/>
                  </a:lnTo>
                  <a:lnTo>
                    <a:pt x="2567" y="1991"/>
                  </a:lnTo>
                  <a:close/>
                  <a:moveTo>
                    <a:pt x="2717" y="1381"/>
                  </a:moveTo>
                  <a:lnTo>
                    <a:pt x="2717" y="1351"/>
                  </a:lnTo>
                  <a:lnTo>
                    <a:pt x="2716" y="1321"/>
                  </a:lnTo>
                  <a:lnTo>
                    <a:pt x="2715" y="1293"/>
                  </a:lnTo>
                  <a:lnTo>
                    <a:pt x="2713" y="1264"/>
                  </a:lnTo>
                  <a:lnTo>
                    <a:pt x="2709" y="1235"/>
                  </a:lnTo>
                  <a:lnTo>
                    <a:pt x="2706" y="1206"/>
                  </a:lnTo>
                  <a:lnTo>
                    <a:pt x="2701" y="1177"/>
                  </a:lnTo>
                  <a:lnTo>
                    <a:pt x="2695" y="1149"/>
                  </a:lnTo>
                  <a:lnTo>
                    <a:pt x="2690" y="1120"/>
                  </a:lnTo>
                  <a:lnTo>
                    <a:pt x="2683" y="1092"/>
                  </a:lnTo>
                  <a:lnTo>
                    <a:pt x="2676" y="1064"/>
                  </a:lnTo>
                  <a:lnTo>
                    <a:pt x="2666" y="1037"/>
                  </a:lnTo>
                  <a:lnTo>
                    <a:pt x="2657" y="1009"/>
                  </a:lnTo>
                  <a:lnTo>
                    <a:pt x="2648" y="981"/>
                  </a:lnTo>
                  <a:lnTo>
                    <a:pt x="2637" y="954"/>
                  </a:lnTo>
                  <a:lnTo>
                    <a:pt x="2625" y="926"/>
                  </a:lnTo>
                  <a:lnTo>
                    <a:pt x="2622" y="947"/>
                  </a:lnTo>
                  <a:lnTo>
                    <a:pt x="2617" y="968"/>
                  </a:lnTo>
                  <a:lnTo>
                    <a:pt x="2612" y="988"/>
                  </a:lnTo>
                  <a:lnTo>
                    <a:pt x="2605" y="1008"/>
                  </a:lnTo>
                  <a:lnTo>
                    <a:pt x="2599" y="1028"/>
                  </a:lnTo>
                  <a:lnTo>
                    <a:pt x="2590" y="1046"/>
                  </a:lnTo>
                  <a:lnTo>
                    <a:pt x="2582" y="1064"/>
                  </a:lnTo>
                  <a:lnTo>
                    <a:pt x="2572" y="1083"/>
                  </a:lnTo>
                  <a:lnTo>
                    <a:pt x="2563" y="1101"/>
                  </a:lnTo>
                  <a:lnTo>
                    <a:pt x="2551" y="1119"/>
                  </a:lnTo>
                  <a:lnTo>
                    <a:pt x="2540" y="1136"/>
                  </a:lnTo>
                  <a:lnTo>
                    <a:pt x="2527" y="1152"/>
                  </a:lnTo>
                  <a:lnTo>
                    <a:pt x="2514" y="1168"/>
                  </a:lnTo>
                  <a:lnTo>
                    <a:pt x="2501" y="1184"/>
                  </a:lnTo>
                  <a:lnTo>
                    <a:pt x="2487" y="1199"/>
                  </a:lnTo>
                  <a:lnTo>
                    <a:pt x="2472" y="1214"/>
                  </a:lnTo>
                  <a:lnTo>
                    <a:pt x="2494" y="1266"/>
                  </a:lnTo>
                  <a:lnTo>
                    <a:pt x="2514" y="1318"/>
                  </a:lnTo>
                  <a:lnTo>
                    <a:pt x="2532" y="1371"/>
                  </a:lnTo>
                  <a:lnTo>
                    <a:pt x="2548" y="1424"/>
                  </a:lnTo>
                  <a:lnTo>
                    <a:pt x="2563" y="1478"/>
                  </a:lnTo>
                  <a:lnTo>
                    <a:pt x="2574" y="1532"/>
                  </a:lnTo>
                  <a:lnTo>
                    <a:pt x="2580" y="1560"/>
                  </a:lnTo>
                  <a:lnTo>
                    <a:pt x="2584" y="1587"/>
                  </a:lnTo>
                  <a:lnTo>
                    <a:pt x="2588" y="1615"/>
                  </a:lnTo>
                  <a:lnTo>
                    <a:pt x="2590" y="1643"/>
                  </a:lnTo>
                  <a:lnTo>
                    <a:pt x="2603" y="1629"/>
                  </a:lnTo>
                  <a:lnTo>
                    <a:pt x="2616" y="1615"/>
                  </a:lnTo>
                  <a:lnTo>
                    <a:pt x="2627" y="1600"/>
                  </a:lnTo>
                  <a:lnTo>
                    <a:pt x="2639" y="1585"/>
                  </a:lnTo>
                  <a:lnTo>
                    <a:pt x="2649" y="1570"/>
                  </a:lnTo>
                  <a:lnTo>
                    <a:pt x="2658" y="1554"/>
                  </a:lnTo>
                  <a:lnTo>
                    <a:pt x="2668" y="1538"/>
                  </a:lnTo>
                  <a:lnTo>
                    <a:pt x="2677" y="1522"/>
                  </a:lnTo>
                  <a:lnTo>
                    <a:pt x="2684" y="1506"/>
                  </a:lnTo>
                  <a:lnTo>
                    <a:pt x="2692" y="1488"/>
                  </a:lnTo>
                  <a:lnTo>
                    <a:pt x="2698" y="1471"/>
                  </a:lnTo>
                  <a:lnTo>
                    <a:pt x="2703" y="1454"/>
                  </a:lnTo>
                  <a:lnTo>
                    <a:pt x="2708" y="1437"/>
                  </a:lnTo>
                  <a:lnTo>
                    <a:pt x="2711" y="1418"/>
                  </a:lnTo>
                  <a:lnTo>
                    <a:pt x="2715" y="1400"/>
                  </a:lnTo>
                  <a:lnTo>
                    <a:pt x="2717" y="1381"/>
                  </a:lnTo>
                  <a:close/>
                  <a:moveTo>
                    <a:pt x="1466" y="134"/>
                  </a:moveTo>
                  <a:lnTo>
                    <a:pt x="1474" y="135"/>
                  </a:lnTo>
                  <a:lnTo>
                    <a:pt x="1493" y="134"/>
                  </a:lnTo>
                  <a:lnTo>
                    <a:pt x="1516" y="131"/>
                  </a:lnTo>
                  <a:lnTo>
                    <a:pt x="1542" y="128"/>
                  </a:lnTo>
                  <a:lnTo>
                    <a:pt x="1594" y="122"/>
                  </a:lnTo>
                  <a:lnTo>
                    <a:pt x="1626" y="119"/>
                  </a:lnTo>
                  <a:lnTo>
                    <a:pt x="1616" y="113"/>
                  </a:lnTo>
                  <a:lnTo>
                    <a:pt x="1605" y="108"/>
                  </a:lnTo>
                  <a:lnTo>
                    <a:pt x="1595" y="105"/>
                  </a:lnTo>
                  <a:lnTo>
                    <a:pt x="1585" y="101"/>
                  </a:lnTo>
                  <a:lnTo>
                    <a:pt x="1574" y="99"/>
                  </a:lnTo>
                  <a:lnTo>
                    <a:pt x="1564" y="98"/>
                  </a:lnTo>
                  <a:lnTo>
                    <a:pt x="1554" y="97"/>
                  </a:lnTo>
                  <a:lnTo>
                    <a:pt x="1543" y="97"/>
                  </a:lnTo>
                  <a:lnTo>
                    <a:pt x="1533" y="98"/>
                  </a:lnTo>
                  <a:lnTo>
                    <a:pt x="1523" y="100"/>
                  </a:lnTo>
                  <a:lnTo>
                    <a:pt x="1513" y="104"/>
                  </a:lnTo>
                  <a:lnTo>
                    <a:pt x="1503" y="107"/>
                  </a:lnTo>
                  <a:lnTo>
                    <a:pt x="1494" y="112"/>
                  </a:lnTo>
                  <a:lnTo>
                    <a:pt x="1483" y="119"/>
                  </a:lnTo>
                  <a:lnTo>
                    <a:pt x="1474" y="125"/>
                  </a:lnTo>
                  <a:lnTo>
                    <a:pt x="1466" y="134"/>
                  </a:lnTo>
                  <a:close/>
                  <a:moveTo>
                    <a:pt x="1669" y="98"/>
                  </a:moveTo>
                  <a:lnTo>
                    <a:pt x="1683" y="106"/>
                  </a:lnTo>
                  <a:lnTo>
                    <a:pt x="1696" y="112"/>
                  </a:lnTo>
                  <a:lnTo>
                    <a:pt x="1710" y="115"/>
                  </a:lnTo>
                  <a:lnTo>
                    <a:pt x="1724" y="119"/>
                  </a:lnTo>
                  <a:lnTo>
                    <a:pt x="1753" y="121"/>
                  </a:lnTo>
                  <a:lnTo>
                    <a:pt x="1784" y="123"/>
                  </a:lnTo>
                  <a:lnTo>
                    <a:pt x="1755" y="116"/>
                  </a:lnTo>
                  <a:lnTo>
                    <a:pt x="1726" y="109"/>
                  </a:lnTo>
                  <a:lnTo>
                    <a:pt x="1698" y="104"/>
                  </a:lnTo>
                  <a:lnTo>
                    <a:pt x="1669" y="98"/>
                  </a:lnTo>
                  <a:close/>
                  <a:moveTo>
                    <a:pt x="1563" y="161"/>
                  </a:moveTo>
                  <a:lnTo>
                    <a:pt x="1600" y="166"/>
                  </a:lnTo>
                  <a:lnTo>
                    <a:pt x="1635" y="172"/>
                  </a:lnTo>
                  <a:lnTo>
                    <a:pt x="1671" y="180"/>
                  </a:lnTo>
                  <a:lnTo>
                    <a:pt x="1707" y="188"/>
                  </a:lnTo>
                  <a:lnTo>
                    <a:pt x="1701" y="178"/>
                  </a:lnTo>
                  <a:lnTo>
                    <a:pt x="1694" y="172"/>
                  </a:lnTo>
                  <a:lnTo>
                    <a:pt x="1687" y="165"/>
                  </a:lnTo>
                  <a:lnTo>
                    <a:pt x="1679" y="160"/>
                  </a:lnTo>
                  <a:lnTo>
                    <a:pt x="1671" y="157"/>
                  </a:lnTo>
                  <a:lnTo>
                    <a:pt x="1663" y="154"/>
                  </a:lnTo>
                  <a:lnTo>
                    <a:pt x="1654" y="153"/>
                  </a:lnTo>
                  <a:lnTo>
                    <a:pt x="1645" y="152"/>
                  </a:lnTo>
                  <a:lnTo>
                    <a:pt x="1604" y="155"/>
                  </a:lnTo>
                  <a:lnTo>
                    <a:pt x="1563" y="161"/>
                  </a:lnTo>
                  <a:close/>
                  <a:moveTo>
                    <a:pt x="1913" y="184"/>
                  </a:moveTo>
                  <a:lnTo>
                    <a:pt x="1891" y="180"/>
                  </a:lnTo>
                  <a:lnTo>
                    <a:pt x="1869" y="175"/>
                  </a:lnTo>
                  <a:lnTo>
                    <a:pt x="1846" y="170"/>
                  </a:lnTo>
                  <a:lnTo>
                    <a:pt x="1824" y="167"/>
                  </a:lnTo>
                  <a:lnTo>
                    <a:pt x="1802" y="165"/>
                  </a:lnTo>
                  <a:lnTo>
                    <a:pt x="1779" y="162"/>
                  </a:lnTo>
                  <a:lnTo>
                    <a:pt x="1756" y="160"/>
                  </a:lnTo>
                  <a:lnTo>
                    <a:pt x="1735" y="159"/>
                  </a:lnTo>
                  <a:lnTo>
                    <a:pt x="1740" y="168"/>
                  </a:lnTo>
                  <a:lnTo>
                    <a:pt x="1746" y="178"/>
                  </a:lnTo>
                  <a:lnTo>
                    <a:pt x="1751" y="190"/>
                  </a:lnTo>
                  <a:lnTo>
                    <a:pt x="1754" y="200"/>
                  </a:lnTo>
                  <a:lnTo>
                    <a:pt x="1789" y="211"/>
                  </a:lnTo>
                  <a:lnTo>
                    <a:pt x="1822" y="222"/>
                  </a:lnTo>
                  <a:lnTo>
                    <a:pt x="1857" y="234"/>
                  </a:lnTo>
                  <a:lnTo>
                    <a:pt x="1890" y="246"/>
                  </a:lnTo>
                  <a:lnTo>
                    <a:pt x="1925" y="259"/>
                  </a:lnTo>
                  <a:lnTo>
                    <a:pt x="1957" y="273"/>
                  </a:lnTo>
                  <a:lnTo>
                    <a:pt x="1990" y="288"/>
                  </a:lnTo>
                  <a:lnTo>
                    <a:pt x="2023" y="303"/>
                  </a:lnTo>
                  <a:lnTo>
                    <a:pt x="2014" y="284"/>
                  </a:lnTo>
                  <a:lnTo>
                    <a:pt x="2003" y="267"/>
                  </a:lnTo>
                  <a:lnTo>
                    <a:pt x="1990" y="251"/>
                  </a:lnTo>
                  <a:lnTo>
                    <a:pt x="1976" y="236"/>
                  </a:lnTo>
                  <a:lnTo>
                    <a:pt x="1963" y="221"/>
                  </a:lnTo>
                  <a:lnTo>
                    <a:pt x="1946" y="208"/>
                  </a:lnTo>
                  <a:lnTo>
                    <a:pt x="1930" y="196"/>
                  </a:lnTo>
                  <a:lnTo>
                    <a:pt x="1913" y="184"/>
                  </a:lnTo>
                  <a:close/>
                  <a:moveTo>
                    <a:pt x="1520" y="197"/>
                  </a:moveTo>
                  <a:lnTo>
                    <a:pt x="1521" y="199"/>
                  </a:lnTo>
                  <a:lnTo>
                    <a:pt x="1521" y="203"/>
                  </a:lnTo>
                  <a:lnTo>
                    <a:pt x="1543" y="212"/>
                  </a:lnTo>
                  <a:lnTo>
                    <a:pt x="1566" y="221"/>
                  </a:lnTo>
                  <a:lnTo>
                    <a:pt x="1588" y="231"/>
                  </a:lnTo>
                  <a:lnTo>
                    <a:pt x="1610" y="242"/>
                  </a:lnTo>
                  <a:lnTo>
                    <a:pt x="1652" y="264"/>
                  </a:lnTo>
                  <a:lnTo>
                    <a:pt x="1693" y="289"/>
                  </a:lnTo>
                  <a:lnTo>
                    <a:pt x="1699" y="282"/>
                  </a:lnTo>
                  <a:lnTo>
                    <a:pt x="1703" y="276"/>
                  </a:lnTo>
                  <a:lnTo>
                    <a:pt x="1707" y="269"/>
                  </a:lnTo>
                  <a:lnTo>
                    <a:pt x="1710" y="261"/>
                  </a:lnTo>
                  <a:lnTo>
                    <a:pt x="1714" y="254"/>
                  </a:lnTo>
                  <a:lnTo>
                    <a:pt x="1716" y="248"/>
                  </a:lnTo>
                  <a:lnTo>
                    <a:pt x="1717" y="240"/>
                  </a:lnTo>
                  <a:lnTo>
                    <a:pt x="1718" y="231"/>
                  </a:lnTo>
                  <a:lnTo>
                    <a:pt x="1694" y="225"/>
                  </a:lnTo>
                  <a:lnTo>
                    <a:pt x="1670" y="219"/>
                  </a:lnTo>
                  <a:lnTo>
                    <a:pt x="1645" y="213"/>
                  </a:lnTo>
                  <a:lnTo>
                    <a:pt x="1620" y="208"/>
                  </a:lnTo>
                  <a:lnTo>
                    <a:pt x="1595" y="204"/>
                  </a:lnTo>
                  <a:lnTo>
                    <a:pt x="1571" y="200"/>
                  </a:lnTo>
                  <a:lnTo>
                    <a:pt x="1546" y="198"/>
                  </a:lnTo>
                  <a:lnTo>
                    <a:pt x="1520" y="197"/>
                  </a:lnTo>
                  <a:close/>
                  <a:moveTo>
                    <a:pt x="2590" y="858"/>
                  </a:moveTo>
                  <a:lnTo>
                    <a:pt x="2578" y="836"/>
                  </a:lnTo>
                  <a:lnTo>
                    <a:pt x="2565" y="813"/>
                  </a:lnTo>
                  <a:lnTo>
                    <a:pt x="2551" y="793"/>
                  </a:lnTo>
                  <a:lnTo>
                    <a:pt x="2536" y="771"/>
                  </a:lnTo>
                  <a:lnTo>
                    <a:pt x="2521" y="750"/>
                  </a:lnTo>
                  <a:lnTo>
                    <a:pt x="2506" y="729"/>
                  </a:lnTo>
                  <a:lnTo>
                    <a:pt x="2491" y="710"/>
                  </a:lnTo>
                  <a:lnTo>
                    <a:pt x="2475" y="690"/>
                  </a:lnTo>
                  <a:lnTo>
                    <a:pt x="2441" y="651"/>
                  </a:lnTo>
                  <a:lnTo>
                    <a:pt x="2406" y="614"/>
                  </a:lnTo>
                  <a:lnTo>
                    <a:pt x="2369" y="578"/>
                  </a:lnTo>
                  <a:lnTo>
                    <a:pt x="2330" y="545"/>
                  </a:lnTo>
                  <a:lnTo>
                    <a:pt x="2329" y="562"/>
                  </a:lnTo>
                  <a:lnTo>
                    <a:pt x="2327" y="578"/>
                  </a:lnTo>
                  <a:lnTo>
                    <a:pt x="2323" y="594"/>
                  </a:lnTo>
                  <a:lnTo>
                    <a:pt x="2320" y="610"/>
                  </a:lnTo>
                  <a:lnTo>
                    <a:pt x="2314" y="627"/>
                  </a:lnTo>
                  <a:lnTo>
                    <a:pt x="2308" y="642"/>
                  </a:lnTo>
                  <a:lnTo>
                    <a:pt x="2301" y="658"/>
                  </a:lnTo>
                  <a:lnTo>
                    <a:pt x="2293" y="672"/>
                  </a:lnTo>
                  <a:lnTo>
                    <a:pt x="2285" y="687"/>
                  </a:lnTo>
                  <a:lnTo>
                    <a:pt x="2276" y="700"/>
                  </a:lnTo>
                  <a:lnTo>
                    <a:pt x="2267" y="714"/>
                  </a:lnTo>
                  <a:lnTo>
                    <a:pt x="2256" y="728"/>
                  </a:lnTo>
                  <a:lnTo>
                    <a:pt x="2246" y="741"/>
                  </a:lnTo>
                  <a:lnTo>
                    <a:pt x="2234" y="752"/>
                  </a:lnTo>
                  <a:lnTo>
                    <a:pt x="2223" y="765"/>
                  </a:lnTo>
                  <a:lnTo>
                    <a:pt x="2210" y="776"/>
                  </a:lnTo>
                  <a:lnTo>
                    <a:pt x="2246" y="824"/>
                  </a:lnTo>
                  <a:lnTo>
                    <a:pt x="2279" y="871"/>
                  </a:lnTo>
                  <a:lnTo>
                    <a:pt x="2312" y="920"/>
                  </a:lnTo>
                  <a:lnTo>
                    <a:pt x="2344" y="970"/>
                  </a:lnTo>
                  <a:lnTo>
                    <a:pt x="2374" y="1021"/>
                  </a:lnTo>
                  <a:lnTo>
                    <a:pt x="2403" y="1071"/>
                  </a:lnTo>
                  <a:lnTo>
                    <a:pt x="2429" y="1123"/>
                  </a:lnTo>
                  <a:lnTo>
                    <a:pt x="2455" y="1176"/>
                  </a:lnTo>
                  <a:lnTo>
                    <a:pt x="2471" y="1160"/>
                  </a:lnTo>
                  <a:lnTo>
                    <a:pt x="2484" y="1143"/>
                  </a:lnTo>
                  <a:lnTo>
                    <a:pt x="2498" y="1125"/>
                  </a:lnTo>
                  <a:lnTo>
                    <a:pt x="2512" y="1107"/>
                  </a:lnTo>
                  <a:lnTo>
                    <a:pt x="2524" y="1089"/>
                  </a:lnTo>
                  <a:lnTo>
                    <a:pt x="2535" y="1070"/>
                  </a:lnTo>
                  <a:lnTo>
                    <a:pt x="2546" y="1051"/>
                  </a:lnTo>
                  <a:lnTo>
                    <a:pt x="2555" y="1031"/>
                  </a:lnTo>
                  <a:lnTo>
                    <a:pt x="2563" y="1010"/>
                  </a:lnTo>
                  <a:lnTo>
                    <a:pt x="2570" y="990"/>
                  </a:lnTo>
                  <a:lnTo>
                    <a:pt x="2577" y="969"/>
                  </a:lnTo>
                  <a:lnTo>
                    <a:pt x="2581" y="947"/>
                  </a:lnTo>
                  <a:lnTo>
                    <a:pt x="2586" y="925"/>
                  </a:lnTo>
                  <a:lnTo>
                    <a:pt x="2588" y="903"/>
                  </a:lnTo>
                  <a:lnTo>
                    <a:pt x="2590" y="881"/>
                  </a:lnTo>
                  <a:lnTo>
                    <a:pt x="2590" y="858"/>
                  </a:lnTo>
                  <a:close/>
                  <a:moveTo>
                    <a:pt x="2284" y="507"/>
                  </a:moveTo>
                  <a:lnTo>
                    <a:pt x="2259" y="488"/>
                  </a:lnTo>
                  <a:lnTo>
                    <a:pt x="2233" y="470"/>
                  </a:lnTo>
                  <a:lnTo>
                    <a:pt x="2208" y="453"/>
                  </a:lnTo>
                  <a:lnTo>
                    <a:pt x="2181" y="435"/>
                  </a:lnTo>
                  <a:lnTo>
                    <a:pt x="2155" y="418"/>
                  </a:lnTo>
                  <a:lnTo>
                    <a:pt x="2128" y="403"/>
                  </a:lnTo>
                  <a:lnTo>
                    <a:pt x="2102" y="387"/>
                  </a:lnTo>
                  <a:lnTo>
                    <a:pt x="2074" y="372"/>
                  </a:lnTo>
                  <a:lnTo>
                    <a:pt x="2073" y="384"/>
                  </a:lnTo>
                  <a:lnTo>
                    <a:pt x="2072" y="395"/>
                  </a:lnTo>
                  <a:lnTo>
                    <a:pt x="2070" y="405"/>
                  </a:lnTo>
                  <a:lnTo>
                    <a:pt x="2066" y="417"/>
                  </a:lnTo>
                  <a:lnTo>
                    <a:pt x="2063" y="427"/>
                  </a:lnTo>
                  <a:lnTo>
                    <a:pt x="2058" y="438"/>
                  </a:lnTo>
                  <a:lnTo>
                    <a:pt x="2054" y="448"/>
                  </a:lnTo>
                  <a:lnTo>
                    <a:pt x="2049" y="458"/>
                  </a:lnTo>
                  <a:lnTo>
                    <a:pt x="2036" y="477"/>
                  </a:lnTo>
                  <a:lnTo>
                    <a:pt x="2024" y="495"/>
                  </a:lnTo>
                  <a:lnTo>
                    <a:pt x="2009" y="513"/>
                  </a:lnTo>
                  <a:lnTo>
                    <a:pt x="1993" y="529"/>
                  </a:lnTo>
                  <a:lnTo>
                    <a:pt x="2018" y="553"/>
                  </a:lnTo>
                  <a:lnTo>
                    <a:pt x="2042" y="579"/>
                  </a:lnTo>
                  <a:lnTo>
                    <a:pt x="2066" y="605"/>
                  </a:lnTo>
                  <a:lnTo>
                    <a:pt x="2090" y="631"/>
                  </a:lnTo>
                  <a:lnTo>
                    <a:pt x="2115" y="658"/>
                  </a:lnTo>
                  <a:lnTo>
                    <a:pt x="2138" y="685"/>
                  </a:lnTo>
                  <a:lnTo>
                    <a:pt x="2161" y="713"/>
                  </a:lnTo>
                  <a:lnTo>
                    <a:pt x="2183" y="741"/>
                  </a:lnTo>
                  <a:lnTo>
                    <a:pt x="2194" y="728"/>
                  </a:lnTo>
                  <a:lnTo>
                    <a:pt x="2206" y="716"/>
                  </a:lnTo>
                  <a:lnTo>
                    <a:pt x="2217" y="704"/>
                  </a:lnTo>
                  <a:lnTo>
                    <a:pt x="2228" y="691"/>
                  </a:lnTo>
                  <a:lnTo>
                    <a:pt x="2237" y="677"/>
                  </a:lnTo>
                  <a:lnTo>
                    <a:pt x="2246" y="663"/>
                  </a:lnTo>
                  <a:lnTo>
                    <a:pt x="2254" y="650"/>
                  </a:lnTo>
                  <a:lnTo>
                    <a:pt x="2261" y="635"/>
                  </a:lnTo>
                  <a:lnTo>
                    <a:pt x="2268" y="620"/>
                  </a:lnTo>
                  <a:lnTo>
                    <a:pt x="2274" y="605"/>
                  </a:lnTo>
                  <a:lnTo>
                    <a:pt x="2277" y="590"/>
                  </a:lnTo>
                  <a:lnTo>
                    <a:pt x="2281" y="574"/>
                  </a:lnTo>
                  <a:lnTo>
                    <a:pt x="2284" y="557"/>
                  </a:lnTo>
                  <a:lnTo>
                    <a:pt x="2285" y="541"/>
                  </a:lnTo>
                  <a:lnTo>
                    <a:pt x="2285" y="524"/>
                  </a:lnTo>
                  <a:lnTo>
                    <a:pt x="2284" y="507"/>
                  </a:lnTo>
                  <a:close/>
                  <a:moveTo>
                    <a:pt x="2035" y="352"/>
                  </a:moveTo>
                  <a:lnTo>
                    <a:pt x="2002" y="335"/>
                  </a:lnTo>
                  <a:lnTo>
                    <a:pt x="1967" y="320"/>
                  </a:lnTo>
                  <a:lnTo>
                    <a:pt x="1933" y="305"/>
                  </a:lnTo>
                  <a:lnTo>
                    <a:pt x="1898" y="291"/>
                  </a:lnTo>
                  <a:lnTo>
                    <a:pt x="1864" y="278"/>
                  </a:lnTo>
                  <a:lnTo>
                    <a:pt x="1828" y="265"/>
                  </a:lnTo>
                  <a:lnTo>
                    <a:pt x="1792" y="253"/>
                  </a:lnTo>
                  <a:lnTo>
                    <a:pt x="1756" y="242"/>
                  </a:lnTo>
                  <a:lnTo>
                    <a:pt x="1755" y="251"/>
                  </a:lnTo>
                  <a:lnTo>
                    <a:pt x="1753" y="260"/>
                  </a:lnTo>
                  <a:lnTo>
                    <a:pt x="1749" y="269"/>
                  </a:lnTo>
                  <a:lnTo>
                    <a:pt x="1746" y="278"/>
                  </a:lnTo>
                  <a:lnTo>
                    <a:pt x="1741" y="287"/>
                  </a:lnTo>
                  <a:lnTo>
                    <a:pt x="1737" y="295"/>
                  </a:lnTo>
                  <a:lnTo>
                    <a:pt x="1732" y="302"/>
                  </a:lnTo>
                  <a:lnTo>
                    <a:pt x="1726" y="310"/>
                  </a:lnTo>
                  <a:lnTo>
                    <a:pt x="1758" y="332"/>
                  </a:lnTo>
                  <a:lnTo>
                    <a:pt x="1789" y="354"/>
                  </a:lnTo>
                  <a:lnTo>
                    <a:pt x="1820" y="377"/>
                  </a:lnTo>
                  <a:lnTo>
                    <a:pt x="1850" y="401"/>
                  </a:lnTo>
                  <a:lnTo>
                    <a:pt x="1879" y="425"/>
                  </a:lnTo>
                  <a:lnTo>
                    <a:pt x="1908" y="449"/>
                  </a:lnTo>
                  <a:lnTo>
                    <a:pt x="1936" y="476"/>
                  </a:lnTo>
                  <a:lnTo>
                    <a:pt x="1964" y="501"/>
                  </a:lnTo>
                  <a:lnTo>
                    <a:pt x="1979" y="486"/>
                  </a:lnTo>
                  <a:lnTo>
                    <a:pt x="1994" y="470"/>
                  </a:lnTo>
                  <a:lnTo>
                    <a:pt x="2006" y="453"/>
                  </a:lnTo>
                  <a:lnTo>
                    <a:pt x="2017" y="434"/>
                  </a:lnTo>
                  <a:lnTo>
                    <a:pt x="2021" y="425"/>
                  </a:lnTo>
                  <a:lnTo>
                    <a:pt x="2026" y="416"/>
                  </a:lnTo>
                  <a:lnTo>
                    <a:pt x="2029" y="405"/>
                  </a:lnTo>
                  <a:lnTo>
                    <a:pt x="2032" y="395"/>
                  </a:lnTo>
                  <a:lnTo>
                    <a:pt x="2034" y="385"/>
                  </a:lnTo>
                  <a:lnTo>
                    <a:pt x="2035" y="374"/>
                  </a:lnTo>
                  <a:lnTo>
                    <a:pt x="2035" y="363"/>
                  </a:lnTo>
                  <a:lnTo>
                    <a:pt x="2035" y="352"/>
                  </a:lnTo>
                  <a:close/>
                  <a:moveTo>
                    <a:pt x="1511" y="241"/>
                  </a:moveTo>
                  <a:lnTo>
                    <a:pt x="1503" y="251"/>
                  </a:lnTo>
                  <a:lnTo>
                    <a:pt x="1495" y="259"/>
                  </a:lnTo>
                  <a:lnTo>
                    <a:pt x="1517" y="283"/>
                  </a:lnTo>
                  <a:lnTo>
                    <a:pt x="1538" y="309"/>
                  </a:lnTo>
                  <a:lnTo>
                    <a:pt x="1557" y="335"/>
                  </a:lnTo>
                  <a:lnTo>
                    <a:pt x="1577" y="360"/>
                  </a:lnTo>
                  <a:lnTo>
                    <a:pt x="1600" y="352"/>
                  </a:lnTo>
                  <a:lnTo>
                    <a:pt x="1622" y="342"/>
                  </a:lnTo>
                  <a:lnTo>
                    <a:pt x="1643" y="329"/>
                  </a:lnTo>
                  <a:lnTo>
                    <a:pt x="1664" y="317"/>
                  </a:lnTo>
                  <a:lnTo>
                    <a:pt x="1627" y="295"/>
                  </a:lnTo>
                  <a:lnTo>
                    <a:pt x="1589" y="275"/>
                  </a:lnTo>
                  <a:lnTo>
                    <a:pt x="1570" y="266"/>
                  </a:lnTo>
                  <a:lnTo>
                    <a:pt x="1550" y="257"/>
                  </a:lnTo>
                  <a:lnTo>
                    <a:pt x="1531" y="249"/>
                  </a:lnTo>
                  <a:lnTo>
                    <a:pt x="1511" y="241"/>
                  </a:lnTo>
                  <a:close/>
                  <a:moveTo>
                    <a:pt x="2372" y="2265"/>
                  </a:moveTo>
                  <a:lnTo>
                    <a:pt x="2381" y="2255"/>
                  </a:lnTo>
                  <a:lnTo>
                    <a:pt x="2389" y="2244"/>
                  </a:lnTo>
                  <a:lnTo>
                    <a:pt x="2397" y="2234"/>
                  </a:lnTo>
                  <a:lnTo>
                    <a:pt x="2405" y="2223"/>
                  </a:lnTo>
                  <a:lnTo>
                    <a:pt x="2384" y="2237"/>
                  </a:lnTo>
                  <a:lnTo>
                    <a:pt x="2362" y="2250"/>
                  </a:lnTo>
                  <a:lnTo>
                    <a:pt x="2340" y="2264"/>
                  </a:lnTo>
                  <a:lnTo>
                    <a:pt x="2319" y="2276"/>
                  </a:lnTo>
                  <a:lnTo>
                    <a:pt x="2274" y="2299"/>
                  </a:lnTo>
                  <a:lnTo>
                    <a:pt x="2229" y="2321"/>
                  </a:lnTo>
                  <a:lnTo>
                    <a:pt x="2181" y="2341"/>
                  </a:lnTo>
                  <a:lnTo>
                    <a:pt x="2134" y="2359"/>
                  </a:lnTo>
                  <a:lnTo>
                    <a:pt x="2087" y="2377"/>
                  </a:lnTo>
                  <a:lnTo>
                    <a:pt x="2039" y="2392"/>
                  </a:lnTo>
                  <a:lnTo>
                    <a:pt x="2031" y="2414"/>
                  </a:lnTo>
                  <a:lnTo>
                    <a:pt x="2021" y="2434"/>
                  </a:lnTo>
                  <a:lnTo>
                    <a:pt x="2012" y="2455"/>
                  </a:lnTo>
                  <a:lnTo>
                    <a:pt x="2003" y="2476"/>
                  </a:lnTo>
                  <a:lnTo>
                    <a:pt x="1991" y="2495"/>
                  </a:lnTo>
                  <a:lnTo>
                    <a:pt x="1980" y="2515"/>
                  </a:lnTo>
                  <a:lnTo>
                    <a:pt x="1968" y="2535"/>
                  </a:lnTo>
                  <a:lnTo>
                    <a:pt x="1956" y="2553"/>
                  </a:lnTo>
                  <a:lnTo>
                    <a:pt x="1984" y="2540"/>
                  </a:lnTo>
                  <a:lnTo>
                    <a:pt x="2013" y="2526"/>
                  </a:lnTo>
                  <a:lnTo>
                    <a:pt x="2042" y="2511"/>
                  </a:lnTo>
                  <a:lnTo>
                    <a:pt x="2070" y="2496"/>
                  </a:lnTo>
                  <a:lnTo>
                    <a:pt x="2097" y="2482"/>
                  </a:lnTo>
                  <a:lnTo>
                    <a:pt x="2125" y="2464"/>
                  </a:lnTo>
                  <a:lnTo>
                    <a:pt x="2152" y="2448"/>
                  </a:lnTo>
                  <a:lnTo>
                    <a:pt x="2178" y="2430"/>
                  </a:lnTo>
                  <a:lnTo>
                    <a:pt x="2205" y="2411"/>
                  </a:lnTo>
                  <a:lnTo>
                    <a:pt x="2230" y="2393"/>
                  </a:lnTo>
                  <a:lnTo>
                    <a:pt x="2255" y="2373"/>
                  </a:lnTo>
                  <a:lnTo>
                    <a:pt x="2279" y="2352"/>
                  </a:lnTo>
                  <a:lnTo>
                    <a:pt x="2304" y="2332"/>
                  </a:lnTo>
                  <a:lnTo>
                    <a:pt x="2327" y="2310"/>
                  </a:lnTo>
                  <a:lnTo>
                    <a:pt x="2350" y="2288"/>
                  </a:lnTo>
                  <a:lnTo>
                    <a:pt x="2372" y="2265"/>
                  </a:lnTo>
                  <a:close/>
                  <a:moveTo>
                    <a:pt x="2468" y="2124"/>
                  </a:moveTo>
                  <a:lnTo>
                    <a:pt x="2480" y="2101"/>
                  </a:lnTo>
                  <a:lnTo>
                    <a:pt x="2490" y="2077"/>
                  </a:lnTo>
                  <a:lnTo>
                    <a:pt x="2501" y="2054"/>
                  </a:lnTo>
                  <a:lnTo>
                    <a:pt x="2510" y="2030"/>
                  </a:lnTo>
                  <a:lnTo>
                    <a:pt x="2518" y="2006"/>
                  </a:lnTo>
                  <a:lnTo>
                    <a:pt x="2526" y="1981"/>
                  </a:lnTo>
                  <a:lnTo>
                    <a:pt x="2532" y="1956"/>
                  </a:lnTo>
                  <a:lnTo>
                    <a:pt x="2539" y="1932"/>
                  </a:lnTo>
                  <a:lnTo>
                    <a:pt x="2543" y="1907"/>
                  </a:lnTo>
                  <a:lnTo>
                    <a:pt x="2548" y="1881"/>
                  </a:lnTo>
                  <a:lnTo>
                    <a:pt x="2551" y="1856"/>
                  </a:lnTo>
                  <a:lnTo>
                    <a:pt x="2554" y="1831"/>
                  </a:lnTo>
                  <a:lnTo>
                    <a:pt x="2556" y="1805"/>
                  </a:lnTo>
                  <a:lnTo>
                    <a:pt x="2557" y="1779"/>
                  </a:lnTo>
                  <a:lnTo>
                    <a:pt x="2557" y="1753"/>
                  </a:lnTo>
                  <a:lnTo>
                    <a:pt x="2557" y="1728"/>
                  </a:lnTo>
                  <a:lnTo>
                    <a:pt x="2532" y="1748"/>
                  </a:lnTo>
                  <a:lnTo>
                    <a:pt x="2506" y="1766"/>
                  </a:lnTo>
                  <a:lnTo>
                    <a:pt x="2480" y="1784"/>
                  </a:lnTo>
                  <a:lnTo>
                    <a:pt x="2452" y="1802"/>
                  </a:lnTo>
                  <a:lnTo>
                    <a:pt x="2425" y="1818"/>
                  </a:lnTo>
                  <a:lnTo>
                    <a:pt x="2396" y="1833"/>
                  </a:lnTo>
                  <a:lnTo>
                    <a:pt x="2368" y="1848"/>
                  </a:lnTo>
                  <a:lnTo>
                    <a:pt x="2338" y="1862"/>
                  </a:lnTo>
                  <a:lnTo>
                    <a:pt x="2309" y="1875"/>
                  </a:lnTo>
                  <a:lnTo>
                    <a:pt x="2279" y="1888"/>
                  </a:lnTo>
                  <a:lnTo>
                    <a:pt x="2249" y="1900"/>
                  </a:lnTo>
                  <a:lnTo>
                    <a:pt x="2219" y="1911"/>
                  </a:lnTo>
                  <a:lnTo>
                    <a:pt x="2158" y="1932"/>
                  </a:lnTo>
                  <a:lnTo>
                    <a:pt x="2096" y="1950"/>
                  </a:lnTo>
                  <a:lnTo>
                    <a:pt x="2097" y="2000"/>
                  </a:lnTo>
                  <a:lnTo>
                    <a:pt x="2096" y="2049"/>
                  </a:lnTo>
                  <a:lnTo>
                    <a:pt x="2094" y="2100"/>
                  </a:lnTo>
                  <a:lnTo>
                    <a:pt x="2090" y="2150"/>
                  </a:lnTo>
                  <a:lnTo>
                    <a:pt x="2085" y="2199"/>
                  </a:lnTo>
                  <a:lnTo>
                    <a:pt x="2077" y="2249"/>
                  </a:lnTo>
                  <a:lnTo>
                    <a:pt x="2071" y="2274"/>
                  </a:lnTo>
                  <a:lnTo>
                    <a:pt x="2066" y="2298"/>
                  </a:lnTo>
                  <a:lnTo>
                    <a:pt x="2059" y="2323"/>
                  </a:lnTo>
                  <a:lnTo>
                    <a:pt x="2052" y="2347"/>
                  </a:lnTo>
                  <a:lnTo>
                    <a:pt x="2109" y="2327"/>
                  </a:lnTo>
                  <a:lnTo>
                    <a:pt x="2164" y="2306"/>
                  </a:lnTo>
                  <a:lnTo>
                    <a:pt x="2192" y="2295"/>
                  </a:lnTo>
                  <a:lnTo>
                    <a:pt x="2219" y="2282"/>
                  </a:lnTo>
                  <a:lnTo>
                    <a:pt x="2246" y="2271"/>
                  </a:lnTo>
                  <a:lnTo>
                    <a:pt x="2272" y="2257"/>
                  </a:lnTo>
                  <a:lnTo>
                    <a:pt x="2299" y="2243"/>
                  </a:lnTo>
                  <a:lnTo>
                    <a:pt x="2324" y="2228"/>
                  </a:lnTo>
                  <a:lnTo>
                    <a:pt x="2350" y="2213"/>
                  </a:lnTo>
                  <a:lnTo>
                    <a:pt x="2375" y="2197"/>
                  </a:lnTo>
                  <a:lnTo>
                    <a:pt x="2399" y="2180"/>
                  </a:lnTo>
                  <a:lnTo>
                    <a:pt x="2422" y="2162"/>
                  </a:lnTo>
                  <a:lnTo>
                    <a:pt x="2445" y="2144"/>
                  </a:lnTo>
                  <a:lnTo>
                    <a:pt x="2468" y="2124"/>
                  </a:lnTo>
                  <a:close/>
                  <a:moveTo>
                    <a:pt x="2555" y="1677"/>
                  </a:moveTo>
                  <a:lnTo>
                    <a:pt x="2552" y="1650"/>
                  </a:lnTo>
                  <a:lnTo>
                    <a:pt x="2549" y="1621"/>
                  </a:lnTo>
                  <a:lnTo>
                    <a:pt x="2546" y="1593"/>
                  </a:lnTo>
                  <a:lnTo>
                    <a:pt x="2541" y="1566"/>
                  </a:lnTo>
                  <a:lnTo>
                    <a:pt x="2536" y="1538"/>
                  </a:lnTo>
                  <a:lnTo>
                    <a:pt x="2531" y="1510"/>
                  </a:lnTo>
                  <a:lnTo>
                    <a:pt x="2524" y="1483"/>
                  </a:lnTo>
                  <a:lnTo>
                    <a:pt x="2517" y="1455"/>
                  </a:lnTo>
                  <a:lnTo>
                    <a:pt x="2501" y="1401"/>
                  </a:lnTo>
                  <a:lnTo>
                    <a:pt x="2483" y="1347"/>
                  </a:lnTo>
                  <a:lnTo>
                    <a:pt x="2464" y="1295"/>
                  </a:lnTo>
                  <a:lnTo>
                    <a:pt x="2442" y="1242"/>
                  </a:lnTo>
                  <a:lnTo>
                    <a:pt x="2420" y="1260"/>
                  </a:lnTo>
                  <a:lnTo>
                    <a:pt x="2397" y="1279"/>
                  </a:lnTo>
                  <a:lnTo>
                    <a:pt x="2373" y="1295"/>
                  </a:lnTo>
                  <a:lnTo>
                    <a:pt x="2349" y="1311"/>
                  </a:lnTo>
                  <a:lnTo>
                    <a:pt x="2324" y="1327"/>
                  </a:lnTo>
                  <a:lnTo>
                    <a:pt x="2299" y="1341"/>
                  </a:lnTo>
                  <a:lnTo>
                    <a:pt x="2274" y="1355"/>
                  </a:lnTo>
                  <a:lnTo>
                    <a:pt x="2247" y="1369"/>
                  </a:lnTo>
                  <a:lnTo>
                    <a:pt x="2221" y="1381"/>
                  </a:lnTo>
                  <a:lnTo>
                    <a:pt x="2194" y="1393"/>
                  </a:lnTo>
                  <a:lnTo>
                    <a:pt x="2168" y="1404"/>
                  </a:lnTo>
                  <a:lnTo>
                    <a:pt x="2140" y="1415"/>
                  </a:lnTo>
                  <a:lnTo>
                    <a:pt x="2086" y="1434"/>
                  </a:lnTo>
                  <a:lnTo>
                    <a:pt x="2031" y="1452"/>
                  </a:lnTo>
                  <a:lnTo>
                    <a:pt x="2043" y="1508"/>
                  </a:lnTo>
                  <a:lnTo>
                    <a:pt x="2054" y="1566"/>
                  </a:lnTo>
                  <a:lnTo>
                    <a:pt x="2064" y="1622"/>
                  </a:lnTo>
                  <a:lnTo>
                    <a:pt x="2073" y="1680"/>
                  </a:lnTo>
                  <a:lnTo>
                    <a:pt x="2080" y="1737"/>
                  </a:lnTo>
                  <a:lnTo>
                    <a:pt x="2087" y="1795"/>
                  </a:lnTo>
                  <a:lnTo>
                    <a:pt x="2092" y="1852"/>
                  </a:lnTo>
                  <a:lnTo>
                    <a:pt x="2095" y="1910"/>
                  </a:lnTo>
                  <a:lnTo>
                    <a:pt x="2157" y="1890"/>
                  </a:lnTo>
                  <a:lnTo>
                    <a:pt x="2218" y="1870"/>
                  </a:lnTo>
                  <a:lnTo>
                    <a:pt x="2248" y="1858"/>
                  </a:lnTo>
                  <a:lnTo>
                    <a:pt x="2278" y="1846"/>
                  </a:lnTo>
                  <a:lnTo>
                    <a:pt x="2308" y="1833"/>
                  </a:lnTo>
                  <a:lnTo>
                    <a:pt x="2338" y="1819"/>
                  </a:lnTo>
                  <a:lnTo>
                    <a:pt x="2367" y="1804"/>
                  </a:lnTo>
                  <a:lnTo>
                    <a:pt x="2396" y="1789"/>
                  </a:lnTo>
                  <a:lnTo>
                    <a:pt x="2425" y="1773"/>
                  </a:lnTo>
                  <a:lnTo>
                    <a:pt x="2452" y="1756"/>
                  </a:lnTo>
                  <a:lnTo>
                    <a:pt x="2479" y="1737"/>
                  </a:lnTo>
                  <a:lnTo>
                    <a:pt x="2505" y="1719"/>
                  </a:lnTo>
                  <a:lnTo>
                    <a:pt x="2531" y="1699"/>
                  </a:lnTo>
                  <a:lnTo>
                    <a:pt x="2555" y="1677"/>
                  </a:lnTo>
                  <a:close/>
                  <a:moveTo>
                    <a:pt x="2426" y="1205"/>
                  </a:moveTo>
                  <a:lnTo>
                    <a:pt x="2400" y="1152"/>
                  </a:lnTo>
                  <a:lnTo>
                    <a:pt x="2373" y="1099"/>
                  </a:lnTo>
                  <a:lnTo>
                    <a:pt x="2344" y="1047"/>
                  </a:lnTo>
                  <a:lnTo>
                    <a:pt x="2314" y="996"/>
                  </a:lnTo>
                  <a:lnTo>
                    <a:pt x="2283" y="947"/>
                  </a:lnTo>
                  <a:lnTo>
                    <a:pt x="2251" y="897"/>
                  </a:lnTo>
                  <a:lnTo>
                    <a:pt x="2216" y="849"/>
                  </a:lnTo>
                  <a:lnTo>
                    <a:pt x="2181" y="802"/>
                  </a:lnTo>
                  <a:lnTo>
                    <a:pt x="2164" y="816"/>
                  </a:lnTo>
                  <a:lnTo>
                    <a:pt x="2147" y="827"/>
                  </a:lnTo>
                  <a:lnTo>
                    <a:pt x="2130" y="840"/>
                  </a:lnTo>
                  <a:lnTo>
                    <a:pt x="2112" y="851"/>
                  </a:lnTo>
                  <a:lnTo>
                    <a:pt x="2075" y="872"/>
                  </a:lnTo>
                  <a:lnTo>
                    <a:pt x="2039" y="892"/>
                  </a:lnTo>
                  <a:lnTo>
                    <a:pt x="2001" y="910"/>
                  </a:lnTo>
                  <a:lnTo>
                    <a:pt x="1961" y="926"/>
                  </a:lnTo>
                  <a:lnTo>
                    <a:pt x="1921" y="941"/>
                  </a:lnTo>
                  <a:lnTo>
                    <a:pt x="1881" y="955"/>
                  </a:lnTo>
                  <a:lnTo>
                    <a:pt x="1902" y="1011"/>
                  </a:lnTo>
                  <a:lnTo>
                    <a:pt x="1922" y="1068"/>
                  </a:lnTo>
                  <a:lnTo>
                    <a:pt x="1941" y="1125"/>
                  </a:lnTo>
                  <a:lnTo>
                    <a:pt x="1959" y="1182"/>
                  </a:lnTo>
                  <a:lnTo>
                    <a:pt x="1976" y="1240"/>
                  </a:lnTo>
                  <a:lnTo>
                    <a:pt x="1993" y="1297"/>
                  </a:lnTo>
                  <a:lnTo>
                    <a:pt x="2008" y="1356"/>
                  </a:lnTo>
                  <a:lnTo>
                    <a:pt x="2023" y="1414"/>
                  </a:lnTo>
                  <a:lnTo>
                    <a:pt x="2077" y="1396"/>
                  </a:lnTo>
                  <a:lnTo>
                    <a:pt x="2130" y="1377"/>
                  </a:lnTo>
                  <a:lnTo>
                    <a:pt x="2157" y="1366"/>
                  </a:lnTo>
                  <a:lnTo>
                    <a:pt x="2184" y="1355"/>
                  </a:lnTo>
                  <a:lnTo>
                    <a:pt x="2209" y="1343"/>
                  </a:lnTo>
                  <a:lnTo>
                    <a:pt x="2236" y="1331"/>
                  </a:lnTo>
                  <a:lnTo>
                    <a:pt x="2261" y="1318"/>
                  </a:lnTo>
                  <a:lnTo>
                    <a:pt x="2286" y="1304"/>
                  </a:lnTo>
                  <a:lnTo>
                    <a:pt x="2311" y="1289"/>
                  </a:lnTo>
                  <a:lnTo>
                    <a:pt x="2335" y="1274"/>
                  </a:lnTo>
                  <a:lnTo>
                    <a:pt x="2358" y="1258"/>
                  </a:lnTo>
                  <a:lnTo>
                    <a:pt x="2381" y="1242"/>
                  </a:lnTo>
                  <a:lnTo>
                    <a:pt x="2404" y="1223"/>
                  </a:lnTo>
                  <a:lnTo>
                    <a:pt x="2426" y="1205"/>
                  </a:lnTo>
                  <a:close/>
                  <a:moveTo>
                    <a:pt x="2153" y="766"/>
                  </a:moveTo>
                  <a:lnTo>
                    <a:pt x="2131" y="738"/>
                  </a:lnTo>
                  <a:lnTo>
                    <a:pt x="2108" y="711"/>
                  </a:lnTo>
                  <a:lnTo>
                    <a:pt x="2085" y="683"/>
                  </a:lnTo>
                  <a:lnTo>
                    <a:pt x="2061" y="657"/>
                  </a:lnTo>
                  <a:lnTo>
                    <a:pt x="2037" y="630"/>
                  </a:lnTo>
                  <a:lnTo>
                    <a:pt x="2012" y="605"/>
                  </a:lnTo>
                  <a:lnTo>
                    <a:pt x="1988" y="578"/>
                  </a:lnTo>
                  <a:lnTo>
                    <a:pt x="1963" y="554"/>
                  </a:lnTo>
                  <a:lnTo>
                    <a:pt x="1938" y="571"/>
                  </a:lnTo>
                  <a:lnTo>
                    <a:pt x="1914" y="586"/>
                  </a:lnTo>
                  <a:lnTo>
                    <a:pt x="1888" y="601"/>
                  </a:lnTo>
                  <a:lnTo>
                    <a:pt x="1861" y="615"/>
                  </a:lnTo>
                  <a:lnTo>
                    <a:pt x="1835" y="627"/>
                  </a:lnTo>
                  <a:lnTo>
                    <a:pt x="1807" y="638"/>
                  </a:lnTo>
                  <a:lnTo>
                    <a:pt x="1779" y="649"/>
                  </a:lnTo>
                  <a:lnTo>
                    <a:pt x="1752" y="658"/>
                  </a:lnTo>
                  <a:lnTo>
                    <a:pt x="1767" y="689"/>
                  </a:lnTo>
                  <a:lnTo>
                    <a:pt x="1782" y="721"/>
                  </a:lnTo>
                  <a:lnTo>
                    <a:pt x="1797" y="752"/>
                  </a:lnTo>
                  <a:lnTo>
                    <a:pt x="1811" y="784"/>
                  </a:lnTo>
                  <a:lnTo>
                    <a:pt x="1826" y="816"/>
                  </a:lnTo>
                  <a:lnTo>
                    <a:pt x="1838" y="848"/>
                  </a:lnTo>
                  <a:lnTo>
                    <a:pt x="1852" y="880"/>
                  </a:lnTo>
                  <a:lnTo>
                    <a:pt x="1865" y="912"/>
                  </a:lnTo>
                  <a:lnTo>
                    <a:pt x="1903" y="900"/>
                  </a:lnTo>
                  <a:lnTo>
                    <a:pt x="1942" y="885"/>
                  </a:lnTo>
                  <a:lnTo>
                    <a:pt x="1979" y="870"/>
                  </a:lnTo>
                  <a:lnTo>
                    <a:pt x="2016" y="852"/>
                  </a:lnTo>
                  <a:lnTo>
                    <a:pt x="2051" y="833"/>
                  </a:lnTo>
                  <a:lnTo>
                    <a:pt x="2087" y="813"/>
                  </a:lnTo>
                  <a:lnTo>
                    <a:pt x="2120" y="790"/>
                  </a:lnTo>
                  <a:lnTo>
                    <a:pt x="2153" y="766"/>
                  </a:lnTo>
                  <a:close/>
                  <a:moveTo>
                    <a:pt x="1934" y="526"/>
                  </a:moveTo>
                  <a:lnTo>
                    <a:pt x="1906" y="501"/>
                  </a:lnTo>
                  <a:lnTo>
                    <a:pt x="1879" y="476"/>
                  </a:lnTo>
                  <a:lnTo>
                    <a:pt x="1850" y="451"/>
                  </a:lnTo>
                  <a:lnTo>
                    <a:pt x="1821" y="427"/>
                  </a:lnTo>
                  <a:lnTo>
                    <a:pt x="1791" y="403"/>
                  </a:lnTo>
                  <a:lnTo>
                    <a:pt x="1761" y="381"/>
                  </a:lnTo>
                  <a:lnTo>
                    <a:pt x="1730" y="359"/>
                  </a:lnTo>
                  <a:lnTo>
                    <a:pt x="1699" y="339"/>
                  </a:lnTo>
                  <a:lnTo>
                    <a:pt x="1687" y="347"/>
                  </a:lnTo>
                  <a:lnTo>
                    <a:pt x="1676" y="355"/>
                  </a:lnTo>
                  <a:lnTo>
                    <a:pt x="1664" y="363"/>
                  </a:lnTo>
                  <a:lnTo>
                    <a:pt x="1652" y="370"/>
                  </a:lnTo>
                  <a:lnTo>
                    <a:pt x="1626" y="382"/>
                  </a:lnTo>
                  <a:lnTo>
                    <a:pt x="1600" y="394"/>
                  </a:lnTo>
                  <a:lnTo>
                    <a:pt x="1618" y="422"/>
                  </a:lnTo>
                  <a:lnTo>
                    <a:pt x="1637" y="449"/>
                  </a:lnTo>
                  <a:lnTo>
                    <a:pt x="1654" y="478"/>
                  </a:lnTo>
                  <a:lnTo>
                    <a:pt x="1671" y="506"/>
                  </a:lnTo>
                  <a:lnTo>
                    <a:pt x="1687" y="534"/>
                  </a:lnTo>
                  <a:lnTo>
                    <a:pt x="1703" y="564"/>
                  </a:lnTo>
                  <a:lnTo>
                    <a:pt x="1720" y="593"/>
                  </a:lnTo>
                  <a:lnTo>
                    <a:pt x="1735" y="623"/>
                  </a:lnTo>
                  <a:lnTo>
                    <a:pt x="1761" y="614"/>
                  </a:lnTo>
                  <a:lnTo>
                    <a:pt x="1786" y="605"/>
                  </a:lnTo>
                  <a:lnTo>
                    <a:pt x="1813" y="594"/>
                  </a:lnTo>
                  <a:lnTo>
                    <a:pt x="1838" y="583"/>
                  </a:lnTo>
                  <a:lnTo>
                    <a:pt x="1864" y="570"/>
                  </a:lnTo>
                  <a:lnTo>
                    <a:pt x="1888" y="557"/>
                  </a:lnTo>
                  <a:lnTo>
                    <a:pt x="1911" y="543"/>
                  </a:lnTo>
                  <a:lnTo>
                    <a:pt x="1934" y="526"/>
                  </a:lnTo>
                  <a:close/>
                  <a:moveTo>
                    <a:pt x="1460" y="280"/>
                  </a:moveTo>
                  <a:lnTo>
                    <a:pt x="1450" y="284"/>
                  </a:lnTo>
                  <a:lnTo>
                    <a:pt x="1438" y="288"/>
                  </a:lnTo>
                  <a:lnTo>
                    <a:pt x="1426" y="291"/>
                  </a:lnTo>
                  <a:lnTo>
                    <a:pt x="1414" y="294"/>
                  </a:lnTo>
                  <a:lnTo>
                    <a:pt x="1414" y="392"/>
                  </a:lnTo>
                  <a:lnTo>
                    <a:pt x="1445" y="389"/>
                  </a:lnTo>
                  <a:lnTo>
                    <a:pt x="1476" y="386"/>
                  </a:lnTo>
                  <a:lnTo>
                    <a:pt x="1508" y="380"/>
                  </a:lnTo>
                  <a:lnTo>
                    <a:pt x="1538" y="373"/>
                  </a:lnTo>
                  <a:lnTo>
                    <a:pt x="1519" y="349"/>
                  </a:lnTo>
                  <a:lnTo>
                    <a:pt x="1501" y="326"/>
                  </a:lnTo>
                  <a:lnTo>
                    <a:pt x="1481" y="303"/>
                  </a:lnTo>
                  <a:lnTo>
                    <a:pt x="1460" y="280"/>
                  </a:lnTo>
                  <a:close/>
                  <a:moveTo>
                    <a:pt x="1880" y="2583"/>
                  </a:moveTo>
                  <a:lnTo>
                    <a:pt x="1897" y="2563"/>
                  </a:lnTo>
                  <a:lnTo>
                    <a:pt x="1914" y="2543"/>
                  </a:lnTo>
                  <a:lnTo>
                    <a:pt x="1929" y="2522"/>
                  </a:lnTo>
                  <a:lnTo>
                    <a:pt x="1944" y="2500"/>
                  </a:lnTo>
                  <a:lnTo>
                    <a:pt x="1958" y="2477"/>
                  </a:lnTo>
                  <a:lnTo>
                    <a:pt x="1970" y="2454"/>
                  </a:lnTo>
                  <a:lnTo>
                    <a:pt x="1981" y="2430"/>
                  </a:lnTo>
                  <a:lnTo>
                    <a:pt x="1991" y="2405"/>
                  </a:lnTo>
                  <a:lnTo>
                    <a:pt x="1957" y="2415"/>
                  </a:lnTo>
                  <a:lnTo>
                    <a:pt x="1921" y="2423"/>
                  </a:lnTo>
                  <a:lnTo>
                    <a:pt x="1885" y="2431"/>
                  </a:lnTo>
                  <a:lnTo>
                    <a:pt x="1850" y="2439"/>
                  </a:lnTo>
                  <a:lnTo>
                    <a:pt x="1814" y="2446"/>
                  </a:lnTo>
                  <a:lnTo>
                    <a:pt x="1777" y="2452"/>
                  </a:lnTo>
                  <a:lnTo>
                    <a:pt x="1741" y="2457"/>
                  </a:lnTo>
                  <a:lnTo>
                    <a:pt x="1706" y="2462"/>
                  </a:lnTo>
                  <a:lnTo>
                    <a:pt x="1633" y="2471"/>
                  </a:lnTo>
                  <a:lnTo>
                    <a:pt x="1561" y="2477"/>
                  </a:lnTo>
                  <a:lnTo>
                    <a:pt x="1487" y="2482"/>
                  </a:lnTo>
                  <a:lnTo>
                    <a:pt x="1414" y="2483"/>
                  </a:lnTo>
                  <a:lnTo>
                    <a:pt x="1414" y="2664"/>
                  </a:lnTo>
                  <a:lnTo>
                    <a:pt x="1444" y="2664"/>
                  </a:lnTo>
                  <a:lnTo>
                    <a:pt x="1473" y="2662"/>
                  </a:lnTo>
                  <a:lnTo>
                    <a:pt x="1503" y="2660"/>
                  </a:lnTo>
                  <a:lnTo>
                    <a:pt x="1533" y="2658"/>
                  </a:lnTo>
                  <a:lnTo>
                    <a:pt x="1562" y="2655"/>
                  </a:lnTo>
                  <a:lnTo>
                    <a:pt x="1592" y="2652"/>
                  </a:lnTo>
                  <a:lnTo>
                    <a:pt x="1620" y="2647"/>
                  </a:lnTo>
                  <a:lnTo>
                    <a:pt x="1650" y="2643"/>
                  </a:lnTo>
                  <a:lnTo>
                    <a:pt x="1679" y="2637"/>
                  </a:lnTo>
                  <a:lnTo>
                    <a:pt x="1708" y="2631"/>
                  </a:lnTo>
                  <a:lnTo>
                    <a:pt x="1737" y="2624"/>
                  </a:lnTo>
                  <a:lnTo>
                    <a:pt x="1766" y="2617"/>
                  </a:lnTo>
                  <a:lnTo>
                    <a:pt x="1794" y="2609"/>
                  </a:lnTo>
                  <a:lnTo>
                    <a:pt x="1823" y="2601"/>
                  </a:lnTo>
                  <a:lnTo>
                    <a:pt x="1851" y="2592"/>
                  </a:lnTo>
                  <a:lnTo>
                    <a:pt x="1880" y="2583"/>
                  </a:lnTo>
                  <a:close/>
                  <a:moveTo>
                    <a:pt x="2008" y="2361"/>
                  </a:moveTo>
                  <a:lnTo>
                    <a:pt x="2016" y="2336"/>
                  </a:lnTo>
                  <a:lnTo>
                    <a:pt x="2023" y="2312"/>
                  </a:lnTo>
                  <a:lnTo>
                    <a:pt x="2028" y="2287"/>
                  </a:lnTo>
                  <a:lnTo>
                    <a:pt x="2034" y="2263"/>
                  </a:lnTo>
                  <a:lnTo>
                    <a:pt x="2039" y="2237"/>
                  </a:lnTo>
                  <a:lnTo>
                    <a:pt x="2043" y="2213"/>
                  </a:lnTo>
                  <a:lnTo>
                    <a:pt x="2047" y="2188"/>
                  </a:lnTo>
                  <a:lnTo>
                    <a:pt x="2050" y="2162"/>
                  </a:lnTo>
                  <a:lnTo>
                    <a:pt x="2055" y="2112"/>
                  </a:lnTo>
                  <a:lnTo>
                    <a:pt x="2057" y="2062"/>
                  </a:lnTo>
                  <a:lnTo>
                    <a:pt x="2058" y="2011"/>
                  </a:lnTo>
                  <a:lnTo>
                    <a:pt x="2058" y="1961"/>
                  </a:lnTo>
                  <a:lnTo>
                    <a:pt x="2019" y="1971"/>
                  </a:lnTo>
                  <a:lnTo>
                    <a:pt x="1979" y="1980"/>
                  </a:lnTo>
                  <a:lnTo>
                    <a:pt x="1940" y="1988"/>
                  </a:lnTo>
                  <a:lnTo>
                    <a:pt x="1899" y="1996"/>
                  </a:lnTo>
                  <a:lnTo>
                    <a:pt x="1859" y="2005"/>
                  </a:lnTo>
                  <a:lnTo>
                    <a:pt x="1820" y="2010"/>
                  </a:lnTo>
                  <a:lnTo>
                    <a:pt x="1779" y="2017"/>
                  </a:lnTo>
                  <a:lnTo>
                    <a:pt x="1739" y="2022"/>
                  </a:lnTo>
                  <a:lnTo>
                    <a:pt x="1698" y="2028"/>
                  </a:lnTo>
                  <a:lnTo>
                    <a:pt x="1657" y="2031"/>
                  </a:lnTo>
                  <a:lnTo>
                    <a:pt x="1617" y="2034"/>
                  </a:lnTo>
                  <a:lnTo>
                    <a:pt x="1577" y="2038"/>
                  </a:lnTo>
                  <a:lnTo>
                    <a:pt x="1495" y="2043"/>
                  </a:lnTo>
                  <a:lnTo>
                    <a:pt x="1414" y="2045"/>
                  </a:lnTo>
                  <a:lnTo>
                    <a:pt x="1414" y="2443"/>
                  </a:lnTo>
                  <a:lnTo>
                    <a:pt x="1489" y="2442"/>
                  </a:lnTo>
                  <a:lnTo>
                    <a:pt x="1564" y="2438"/>
                  </a:lnTo>
                  <a:lnTo>
                    <a:pt x="1602" y="2434"/>
                  </a:lnTo>
                  <a:lnTo>
                    <a:pt x="1639" y="2431"/>
                  </a:lnTo>
                  <a:lnTo>
                    <a:pt x="1677" y="2426"/>
                  </a:lnTo>
                  <a:lnTo>
                    <a:pt x="1714" y="2422"/>
                  </a:lnTo>
                  <a:lnTo>
                    <a:pt x="1752" y="2417"/>
                  </a:lnTo>
                  <a:lnTo>
                    <a:pt x="1789" y="2410"/>
                  </a:lnTo>
                  <a:lnTo>
                    <a:pt x="1826" y="2403"/>
                  </a:lnTo>
                  <a:lnTo>
                    <a:pt x="1862" y="2396"/>
                  </a:lnTo>
                  <a:lnTo>
                    <a:pt x="1899" y="2388"/>
                  </a:lnTo>
                  <a:lnTo>
                    <a:pt x="1936" y="2380"/>
                  </a:lnTo>
                  <a:lnTo>
                    <a:pt x="1972" y="2370"/>
                  </a:lnTo>
                  <a:lnTo>
                    <a:pt x="2008" y="2361"/>
                  </a:lnTo>
                  <a:close/>
                  <a:moveTo>
                    <a:pt x="2057" y="1920"/>
                  </a:moveTo>
                  <a:lnTo>
                    <a:pt x="2054" y="1863"/>
                  </a:lnTo>
                  <a:lnTo>
                    <a:pt x="2049" y="1805"/>
                  </a:lnTo>
                  <a:lnTo>
                    <a:pt x="2043" y="1748"/>
                  </a:lnTo>
                  <a:lnTo>
                    <a:pt x="2035" y="1690"/>
                  </a:lnTo>
                  <a:lnTo>
                    <a:pt x="2026" y="1634"/>
                  </a:lnTo>
                  <a:lnTo>
                    <a:pt x="2017" y="1576"/>
                  </a:lnTo>
                  <a:lnTo>
                    <a:pt x="2005" y="1519"/>
                  </a:lnTo>
                  <a:lnTo>
                    <a:pt x="1994" y="1463"/>
                  </a:lnTo>
                  <a:lnTo>
                    <a:pt x="1958" y="1472"/>
                  </a:lnTo>
                  <a:lnTo>
                    <a:pt x="1922" y="1481"/>
                  </a:lnTo>
                  <a:lnTo>
                    <a:pt x="1888" y="1490"/>
                  </a:lnTo>
                  <a:lnTo>
                    <a:pt x="1851" y="1496"/>
                  </a:lnTo>
                  <a:lnTo>
                    <a:pt x="1815" y="1503"/>
                  </a:lnTo>
                  <a:lnTo>
                    <a:pt x="1779" y="1510"/>
                  </a:lnTo>
                  <a:lnTo>
                    <a:pt x="1743" y="1515"/>
                  </a:lnTo>
                  <a:lnTo>
                    <a:pt x="1707" y="1521"/>
                  </a:lnTo>
                  <a:lnTo>
                    <a:pt x="1633" y="1529"/>
                  </a:lnTo>
                  <a:lnTo>
                    <a:pt x="1561" y="1534"/>
                  </a:lnTo>
                  <a:lnTo>
                    <a:pt x="1487" y="1538"/>
                  </a:lnTo>
                  <a:lnTo>
                    <a:pt x="1414" y="1539"/>
                  </a:lnTo>
                  <a:lnTo>
                    <a:pt x="1414" y="2006"/>
                  </a:lnTo>
                  <a:lnTo>
                    <a:pt x="1496" y="2003"/>
                  </a:lnTo>
                  <a:lnTo>
                    <a:pt x="1577" y="1999"/>
                  </a:lnTo>
                  <a:lnTo>
                    <a:pt x="1617" y="1996"/>
                  </a:lnTo>
                  <a:lnTo>
                    <a:pt x="1657" y="1992"/>
                  </a:lnTo>
                  <a:lnTo>
                    <a:pt x="1698" y="1988"/>
                  </a:lnTo>
                  <a:lnTo>
                    <a:pt x="1738" y="1983"/>
                  </a:lnTo>
                  <a:lnTo>
                    <a:pt x="1778" y="1978"/>
                  </a:lnTo>
                  <a:lnTo>
                    <a:pt x="1819" y="1971"/>
                  </a:lnTo>
                  <a:lnTo>
                    <a:pt x="1859" y="1964"/>
                  </a:lnTo>
                  <a:lnTo>
                    <a:pt x="1898" y="1957"/>
                  </a:lnTo>
                  <a:lnTo>
                    <a:pt x="1938" y="1949"/>
                  </a:lnTo>
                  <a:lnTo>
                    <a:pt x="1978" y="1940"/>
                  </a:lnTo>
                  <a:lnTo>
                    <a:pt x="2018" y="1931"/>
                  </a:lnTo>
                  <a:lnTo>
                    <a:pt x="2057" y="1920"/>
                  </a:lnTo>
                  <a:close/>
                  <a:moveTo>
                    <a:pt x="1984" y="1425"/>
                  </a:moveTo>
                  <a:lnTo>
                    <a:pt x="1971" y="1366"/>
                  </a:lnTo>
                  <a:lnTo>
                    <a:pt x="1956" y="1309"/>
                  </a:lnTo>
                  <a:lnTo>
                    <a:pt x="1940" y="1251"/>
                  </a:lnTo>
                  <a:lnTo>
                    <a:pt x="1922" y="1193"/>
                  </a:lnTo>
                  <a:lnTo>
                    <a:pt x="1904" y="1136"/>
                  </a:lnTo>
                  <a:lnTo>
                    <a:pt x="1884" y="1079"/>
                  </a:lnTo>
                  <a:lnTo>
                    <a:pt x="1865" y="1023"/>
                  </a:lnTo>
                  <a:lnTo>
                    <a:pt x="1844" y="966"/>
                  </a:lnTo>
                  <a:lnTo>
                    <a:pt x="1791" y="981"/>
                  </a:lnTo>
                  <a:lnTo>
                    <a:pt x="1738" y="993"/>
                  </a:lnTo>
                  <a:lnTo>
                    <a:pt x="1685" y="1003"/>
                  </a:lnTo>
                  <a:lnTo>
                    <a:pt x="1631" y="1013"/>
                  </a:lnTo>
                  <a:lnTo>
                    <a:pt x="1577" y="1019"/>
                  </a:lnTo>
                  <a:lnTo>
                    <a:pt x="1523" y="1024"/>
                  </a:lnTo>
                  <a:lnTo>
                    <a:pt x="1468" y="1028"/>
                  </a:lnTo>
                  <a:lnTo>
                    <a:pt x="1414" y="1030"/>
                  </a:lnTo>
                  <a:lnTo>
                    <a:pt x="1414" y="1500"/>
                  </a:lnTo>
                  <a:lnTo>
                    <a:pt x="1487" y="1499"/>
                  </a:lnTo>
                  <a:lnTo>
                    <a:pt x="1558" y="1495"/>
                  </a:lnTo>
                  <a:lnTo>
                    <a:pt x="1630" y="1488"/>
                  </a:lnTo>
                  <a:lnTo>
                    <a:pt x="1702" y="1480"/>
                  </a:lnTo>
                  <a:lnTo>
                    <a:pt x="1738" y="1476"/>
                  </a:lnTo>
                  <a:lnTo>
                    <a:pt x="1774" y="1470"/>
                  </a:lnTo>
                  <a:lnTo>
                    <a:pt x="1808" y="1464"/>
                  </a:lnTo>
                  <a:lnTo>
                    <a:pt x="1844" y="1457"/>
                  </a:lnTo>
                  <a:lnTo>
                    <a:pt x="1880" y="1450"/>
                  </a:lnTo>
                  <a:lnTo>
                    <a:pt x="1914" y="1442"/>
                  </a:lnTo>
                  <a:lnTo>
                    <a:pt x="1950" y="1434"/>
                  </a:lnTo>
                  <a:lnTo>
                    <a:pt x="1984" y="1425"/>
                  </a:lnTo>
                  <a:close/>
                  <a:moveTo>
                    <a:pt x="1827" y="924"/>
                  </a:moveTo>
                  <a:lnTo>
                    <a:pt x="1814" y="892"/>
                  </a:lnTo>
                  <a:lnTo>
                    <a:pt x="1801" y="859"/>
                  </a:lnTo>
                  <a:lnTo>
                    <a:pt x="1787" y="827"/>
                  </a:lnTo>
                  <a:lnTo>
                    <a:pt x="1774" y="795"/>
                  </a:lnTo>
                  <a:lnTo>
                    <a:pt x="1759" y="764"/>
                  </a:lnTo>
                  <a:lnTo>
                    <a:pt x="1745" y="731"/>
                  </a:lnTo>
                  <a:lnTo>
                    <a:pt x="1730" y="700"/>
                  </a:lnTo>
                  <a:lnTo>
                    <a:pt x="1714" y="669"/>
                  </a:lnTo>
                  <a:lnTo>
                    <a:pt x="1677" y="678"/>
                  </a:lnTo>
                  <a:lnTo>
                    <a:pt x="1640" y="687"/>
                  </a:lnTo>
                  <a:lnTo>
                    <a:pt x="1603" y="693"/>
                  </a:lnTo>
                  <a:lnTo>
                    <a:pt x="1565" y="699"/>
                  </a:lnTo>
                  <a:lnTo>
                    <a:pt x="1528" y="704"/>
                  </a:lnTo>
                  <a:lnTo>
                    <a:pt x="1490" y="707"/>
                  </a:lnTo>
                  <a:lnTo>
                    <a:pt x="1452" y="711"/>
                  </a:lnTo>
                  <a:lnTo>
                    <a:pt x="1414" y="712"/>
                  </a:lnTo>
                  <a:lnTo>
                    <a:pt x="1414" y="984"/>
                  </a:lnTo>
                  <a:lnTo>
                    <a:pt x="1466" y="981"/>
                  </a:lnTo>
                  <a:lnTo>
                    <a:pt x="1519" y="978"/>
                  </a:lnTo>
                  <a:lnTo>
                    <a:pt x="1571" y="973"/>
                  </a:lnTo>
                  <a:lnTo>
                    <a:pt x="1623" y="966"/>
                  </a:lnTo>
                  <a:lnTo>
                    <a:pt x="1675" y="958"/>
                  </a:lnTo>
                  <a:lnTo>
                    <a:pt x="1725" y="949"/>
                  </a:lnTo>
                  <a:lnTo>
                    <a:pt x="1777" y="938"/>
                  </a:lnTo>
                  <a:lnTo>
                    <a:pt x="1827" y="924"/>
                  </a:lnTo>
                  <a:close/>
                  <a:moveTo>
                    <a:pt x="1696" y="634"/>
                  </a:moveTo>
                  <a:lnTo>
                    <a:pt x="1680" y="605"/>
                  </a:lnTo>
                  <a:lnTo>
                    <a:pt x="1665" y="576"/>
                  </a:lnTo>
                  <a:lnTo>
                    <a:pt x="1649" y="547"/>
                  </a:lnTo>
                  <a:lnTo>
                    <a:pt x="1633" y="518"/>
                  </a:lnTo>
                  <a:lnTo>
                    <a:pt x="1616" y="490"/>
                  </a:lnTo>
                  <a:lnTo>
                    <a:pt x="1599" y="462"/>
                  </a:lnTo>
                  <a:lnTo>
                    <a:pt x="1580" y="434"/>
                  </a:lnTo>
                  <a:lnTo>
                    <a:pt x="1562" y="407"/>
                  </a:lnTo>
                  <a:lnTo>
                    <a:pt x="1543" y="411"/>
                  </a:lnTo>
                  <a:lnTo>
                    <a:pt x="1525" y="416"/>
                  </a:lnTo>
                  <a:lnTo>
                    <a:pt x="1508" y="420"/>
                  </a:lnTo>
                  <a:lnTo>
                    <a:pt x="1489" y="423"/>
                  </a:lnTo>
                  <a:lnTo>
                    <a:pt x="1451" y="428"/>
                  </a:lnTo>
                  <a:lnTo>
                    <a:pt x="1414" y="431"/>
                  </a:lnTo>
                  <a:lnTo>
                    <a:pt x="1414" y="673"/>
                  </a:lnTo>
                  <a:lnTo>
                    <a:pt x="1450" y="672"/>
                  </a:lnTo>
                  <a:lnTo>
                    <a:pt x="1486" y="669"/>
                  </a:lnTo>
                  <a:lnTo>
                    <a:pt x="1521" y="666"/>
                  </a:lnTo>
                  <a:lnTo>
                    <a:pt x="1556" y="661"/>
                  </a:lnTo>
                  <a:lnTo>
                    <a:pt x="1592" y="657"/>
                  </a:lnTo>
                  <a:lnTo>
                    <a:pt x="1626" y="650"/>
                  </a:lnTo>
                  <a:lnTo>
                    <a:pt x="1662" y="643"/>
                  </a:lnTo>
                  <a:lnTo>
                    <a:pt x="1696" y="634"/>
                  </a:lnTo>
                  <a:close/>
                  <a:moveTo>
                    <a:pt x="1367" y="67"/>
                  </a:moveTo>
                  <a:lnTo>
                    <a:pt x="1342" y="68"/>
                  </a:lnTo>
                  <a:lnTo>
                    <a:pt x="1315" y="69"/>
                  </a:lnTo>
                  <a:lnTo>
                    <a:pt x="1289" y="71"/>
                  </a:lnTo>
                  <a:lnTo>
                    <a:pt x="1263" y="75"/>
                  </a:lnTo>
                  <a:lnTo>
                    <a:pt x="1282" y="83"/>
                  </a:lnTo>
                  <a:lnTo>
                    <a:pt x="1299" y="93"/>
                  </a:lnTo>
                  <a:lnTo>
                    <a:pt x="1308" y="99"/>
                  </a:lnTo>
                  <a:lnTo>
                    <a:pt x="1315" y="106"/>
                  </a:lnTo>
                  <a:lnTo>
                    <a:pt x="1322" y="113"/>
                  </a:lnTo>
                  <a:lnTo>
                    <a:pt x="1329" y="121"/>
                  </a:lnTo>
                  <a:lnTo>
                    <a:pt x="1338" y="120"/>
                  </a:lnTo>
                  <a:lnTo>
                    <a:pt x="1349" y="117"/>
                  </a:lnTo>
                  <a:lnTo>
                    <a:pt x="1358" y="116"/>
                  </a:lnTo>
                  <a:lnTo>
                    <a:pt x="1367" y="116"/>
                  </a:lnTo>
                  <a:lnTo>
                    <a:pt x="1367" y="67"/>
                  </a:lnTo>
                  <a:close/>
                  <a:moveTo>
                    <a:pt x="1180" y="97"/>
                  </a:moveTo>
                  <a:lnTo>
                    <a:pt x="1168" y="101"/>
                  </a:lnTo>
                  <a:lnTo>
                    <a:pt x="1155" y="106"/>
                  </a:lnTo>
                  <a:lnTo>
                    <a:pt x="1144" y="112"/>
                  </a:lnTo>
                  <a:lnTo>
                    <a:pt x="1131" y="119"/>
                  </a:lnTo>
                  <a:lnTo>
                    <a:pt x="1171" y="120"/>
                  </a:lnTo>
                  <a:lnTo>
                    <a:pt x="1210" y="123"/>
                  </a:lnTo>
                  <a:lnTo>
                    <a:pt x="1251" y="128"/>
                  </a:lnTo>
                  <a:lnTo>
                    <a:pt x="1290" y="135"/>
                  </a:lnTo>
                  <a:lnTo>
                    <a:pt x="1278" y="125"/>
                  </a:lnTo>
                  <a:lnTo>
                    <a:pt x="1266" y="117"/>
                  </a:lnTo>
                  <a:lnTo>
                    <a:pt x="1253" y="112"/>
                  </a:lnTo>
                  <a:lnTo>
                    <a:pt x="1238" y="107"/>
                  </a:lnTo>
                  <a:lnTo>
                    <a:pt x="1224" y="104"/>
                  </a:lnTo>
                  <a:lnTo>
                    <a:pt x="1209" y="100"/>
                  </a:lnTo>
                  <a:lnTo>
                    <a:pt x="1194" y="98"/>
                  </a:lnTo>
                  <a:lnTo>
                    <a:pt x="1180" y="97"/>
                  </a:lnTo>
                  <a:close/>
                  <a:moveTo>
                    <a:pt x="1088" y="98"/>
                  </a:moveTo>
                  <a:lnTo>
                    <a:pt x="1061" y="104"/>
                  </a:lnTo>
                  <a:lnTo>
                    <a:pt x="1033" y="109"/>
                  </a:lnTo>
                  <a:lnTo>
                    <a:pt x="1005" y="116"/>
                  </a:lnTo>
                  <a:lnTo>
                    <a:pt x="978" y="123"/>
                  </a:lnTo>
                  <a:lnTo>
                    <a:pt x="1009" y="121"/>
                  </a:lnTo>
                  <a:lnTo>
                    <a:pt x="1035" y="119"/>
                  </a:lnTo>
                  <a:lnTo>
                    <a:pt x="1048" y="115"/>
                  </a:lnTo>
                  <a:lnTo>
                    <a:pt x="1061" y="112"/>
                  </a:lnTo>
                  <a:lnTo>
                    <a:pt x="1074" y="106"/>
                  </a:lnTo>
                  <a:lnTo>
                    <a:pt x="1088" y="98"/>
                  </a:lnTo>
                  <a:close/>
                  <a:moveTo>
                    <a:pt x="1076" y="157"/>
                  </a:moveTo>
                  <a:lnTo>
                    <a:pt x="1069" y="163"/>
                  </a:lnTo>
                  <a:lnTo>
                    <a:pt x="1062" y="172"/>
                  </a:lnTo>
                  <a:lnTo>
                    <a:pt x="1056" y="180"/>
                  </a:lnTo>
                  <a:lnTo>
                    <a:pt x="1050" y="188"/>
                  </a:lnTo>
                  <a:lnTo>
                    <a:pt x="1086" y="180"/>
                  </a:lnTo>
                  <a:lnTo>
                    <a:pt x="1122" y="172"/>
                  </a:lnTo>
                  <a:lnTo>
                    <a:pt x="1157" y="166"/>
                  </a:lnTo>
                  <a:lnTo>
                    <a:pt x="1193" y="161"/>
                  </a:lnTo>
                  <a:lnTo>
                    <a:pt x="1163" y="159"/>
                  </a:lnTo>
                  <a:lnTo>
                    <a:pt x="1134" y="157"/>
                  </a:lnTo>
                  <a:lnTo>
                    <a:pt x="1106" y="157"/>
                  </a:lnTo>
                  <a:lnTo>
                    <a:pt x="1076" y="157"/>
                  </a:lnTo>
                  <a:close/>
                  <a:moveTo>
                    <a:pt x="1024" y="159"/>
                  </a:moveTo>
                  <a:lnTo>
                    <a:pt x="979" y="161"/>
                  </a:lnTo>
                  <a:lnTo>
                    <a:pt x="935" y="166"/>
                  </a:lnTo>
                  <a:lnTo>
                    <a:pt x="913" y="169"/>
                  </a:lnTo>
                  <a:lnTo>
                    <a:pt x="894" y="174"/>
                  </a:lnTo>
                  <a:lnTo>
                    <a:pt x="873" y="180"/>
                  </a:lnTo>
                  <a:lnTo>
                    <a:pt x="853" y="187"/>
                  </a:lnTo>
                  <a:lnTo>
                    <a:pt x="835" y="195"/>
                  </a:lnTo>
                  <a:lnTo>
                    <a:pt x="818" y="204"/>
                  </a:lnTo>
                  <a:lnTo>
                    <a:pt x="801" y="215"/>
                  </a:lnTo>
                  <a:lnTo>
                    <a:pt x="785" y="229"/>
                  </a:lnTo>
                  <a:lnTo>
                    <a:pt x="778" y="236"/>
                  </a:lnTo>
                  <a:lnTo>
                    <a:pt x="770" y="244"/>
                  </a:lnTo>
                  <a:lnTo>
                    <a:pt x="763" y="252"/>
                  </a:lnTo>
                  <a:lnTo>
                    <a:pt x="758" y="261"/>
                  </a:lnTo>
                  <a:lnTo>
                    <a:pt x="751" y="272"/>
                  </a:lnTo>
                  <a:lnTo>
                    <a:pt x="745" y="282"/>
                  </a:lnTo>
                  <a:lnTo>
                    <a:pt x="739" y="293"/>
                  </a:lnTo>
                  <a:lnTo>
                    <a:pt x="735" y="304"/>
                  </a:lnTo>
                  <a:lnTo>
                    <a:pt x="767" y="289"/>
                  </a:lnTo>
                  <a:lnTo>
                    <a:pt x="800" y="274"/>
                  </a:lnTo>
                  <a:lnTo>
                    <a:pt x="834" y="260"/>
                  </a:lnTo>
                  <a:lnTo>
                    <a:pt x="867" y="246"/>
                  </a:lnTo>
                  <a:lnTo>
                    <a:pt x="900" y="234"/>
                  </a:lnTo>
                  <a:lnTo>
                    <a:pt x="935" y="222"/>
                  </a:lnTo>
                  <a:lnTo>
                    <a:pt x="970" y="211"/>
                  </a:lnTo>
                  <a:lnTo>
                    <a:pt x="1004" y="200"/>
                  </a:lnTo>
                  <a:lnTo>
                    <a:pt x="1008" y="190"/>
                  </a:lnTo>
                  <a:lnTo>
                    <a:pt x="1012" y="178"/>
                  </a:lnTo>
                  <a:lnTo>
                    <a:pt x="1017" y="168"/>
                  </a:lnTo>
                  <a:lnTo>
                    <a:pt x="1024" y="159"/>
                  </a:lnTo>
                  <a:close/>
                  <a:moveTo>
                    <a:pt x="1040" y="231"/>
                  </a:moveTo>
                  <a:lnTo>
                    <a:pt x="1040" y="240"/>
                  </a:lnTo>
                  <a:lnTo>
                    <a:pt x="1041" y="246"/>
                  </a:lnTo>
                  <a:lnTo>
                    <a:pt x="1043" y="254"/>
                  </a:lnTo>
                  <a:lnTo>
                    <a:pt x="1047" y="261"/>
                  </a:lnTo>
                  <a:lnTo>
                    <a:pt x="1054" y="275"/>
                  </a:lnTo>
                  <a:lnTo>
                    <a:pt x="1063" y="288"/>
                  </a:lnTo>
                  <a:lnTo>
                    <a:pt x="1104" y="264"/>
                  </a:lnTo>
                  <a:lnTo>
                    <a:pt x="1148" y="241"/>
                  </a:lnTo>
                  <a:lnTo>
                    <a:pt x="1169" y="230"/>
                  </a:lnTo>
                  <a:lnTo>
                    <a:pt x="1192" y="220"/>
                  </a:lnTo>
                  <a:lnTo>
                    <a:pt x="1214" y="211"/>
                  </a:lnTo>
                  <a:lnTo>
                    <a:pt x="1237" y="203"/>
                  </a:lnTo>
                  <a:lnTo>
                    <a:pt x="1237" y="197"/>
                  </a:lnTo>
                  <a:lnTo>
                    <a:pt x="1211" y="198"/>
                  </a:lnTo>
                  <a:lnTo>
                    <a:pt x="1187" y="200"/>
                  </a:lnTo>
                  <a:lnTo>
                    <a:pt x="1162" y="204"/>
                  </a:lnTo>
                  <a:lnTo>
                    <a:pt x="1137" y="207"/>
                  </a:lnTo>
                  <a:lnTo>
                    <a:pt x="1112" y="213"/>
                  </a:lnTo>
                  <a:lnTo>
                    <a:pt x="1088" y="219"/>
                  </a:lnTo>
                  <a:lnTo>
                    <a:pt x="1063" y="225"/>
                  </a:lnTo>
                  <a:lnTo>
                    <a:pt x="1040" y="231"/>
                  </a:lnTo>
                  <a:close/>
                  <a:moveTo>
                    <a:pt x="1001" y="242"/>
                  </a:moveTo>
                  <a:lnTo>
                    <a:pt x="965" y="253"/>
                  </a:lnTo>
                  <a:lnTo>
                    <a:pt x="929" y="265"/>
                  </a:lnTo>
                  <a:lnTo>
                    <a:pt x="895" y="278"/>
                  </a:lnTo>
                  <a:lnTo>
                    <a:pt x="859" y="291"/>
                  </a:lnTo>
                  <a:lnTo>
                    <a:pt x="824" y="306"/>
                  </a:lnTo>
                  <a:lnTo>
                    <a:pt x="790" y="321"/>
                  </a:lnTo>
                  <a:lnTo>
                    <a:pt x="756" y="336"/>
                  </a:lnTo>
                  <a:lnTo>
                    <a:pt x="722" y="354"/>
                  </a:lnTo>
                  <a:lnTo>
                    <a:pt x="722" y="364"/>
                  </a:lnTo>
                  <a:lnTo>
                    <a:pt x="722" y="374"/>
                  </a:lnTo>
                  <a:lnTo>
                    <a:pt x="723" y="386"/>
                  </a:lnTo>
                  <a:lnTo>
                    <a:pt x="725" y="396"/>
                  </a:lnTo>
                  <a:lnTo>
                    <a:pt x="728" y="405"/>
                  </a:lnTo>
                  <a:lnTo>
                    <a:pt x="731" y="416"/>
                  </a:lnTo>
                  <a:lnTo>
                    <a:pt x="736" y="425"/>
                  </a:lnTo>
                  <a:lnTo>
                    <a:pt x="740" y="434"/>
                  </a:lnTo>
                  <a:lnTo>
                    <a:pt x="751" y="453"/>
                  </a:lnTo>
                  <a:lnTo>
                    <a:pt x="763" y="470"/>
                  </a:lnTo>
                  <a:lnTo>
                    <a:pt x="777" y="486"/>
                  </a:lnTo>
                  <a:lnTo>
                    <a:pt x="792" y="501"/>
                  </a:lnTo>
                  <a:lnTo>
                    <a:pt x="820" y="475"/>
                  </a:lnTo>
                  <a:lnTo>
                    <a:pt x="849" y="449"/>
                  </a:lnTo>
                  <a:lnTo>
                    <a:pt x="877" y="424"/>
                  </a:lnTo>
                  <a:lnTo>
                    <a:pt x="907" y="400"/>
                  </a:lnTo>
                  <a:lnTo>
                    <a:pt x="937" y="375"/>
                  </a:lnTo>
                  <a:lnTo>
                    <a:pt x="967" y="352"/>
                  </a:lnTo>
                  <a:lnTo>
                    <a:pt x="998" y="331"/>
                  </a:lnTo>
                  <a:lnTo>
                    <a:pt x="1031" y="309"/>
                  </a:lnTo>
                  <a:lnTo>
                    <a:pt x="1020" y="294"/>
                  </a:lnTo>
                  <a:lnTo>
                    <a:pt x="1011" y="278"/>
                  </a:lnTo>
                  <a:lnTo>
                    <a:pt x="1008" y="269"/>
                  </a:lnTo>
                  <a:lnTo>
                    <a:pt x="1005" y="260"/>
                  </a:lnTo>
                  <a:lnTo>
                    <a:pt x="1003" y="251"/>
                  </a:lnTo>
                  <a:lnTo>
                    <a:pt x="1001" y="242"/>
                  </a:lnTo>
                  <a:close/>
                  <a:moveTo>
                    <a:pt x="683" y="374"/>
                  </a:moveTo>
                  <a:lnTo>
                    <a:pt x="656" y="389"/>
                  </a:lnTo>
                  <a:lnTo>
                    <a:pt x="629" y="404"/>
                  </a:lnTo>
                  <a:lnTo>
                    <a:pt x="602" y="422"/>
                  </a:lnTo>
                  <a:lnTo>
                    <a:pt x="576" y="438"/>
                  </a:lnTo>
                  <a:lnTo>
                    <a:pt x="549" y="455"/>
                  </a:lnTo>
                  <a:lnTo>
                    <a:pt x="524" y="473"/>
                  </a:lnTo>
                  <a:lnTo>
                    <a:pt x="498" y="492"/>
                  </a:lnTo>
                  <a:lnTo>
                    <a:pt x="473" y="511"/>
                  </a:lnTo>
                  <a:lnTo>
                    <a:pt x="472" y="528"/>
                  </a:lnTo>
                  <a:lnTo>
                    <a:pt x="473" y="545"/>
                  </a:lnTo>
                  <a:lnTo>
                    <a:pt x="474" y="561"/>
                  </a:lnTo>
                  <a:lnTo>
                    <a:pt x="477" y="577"/>
                  </a:lnTo>
                  <a:lnTo>
                    <a:pt x="480" y="592"/>
                  </a:lnTo>
                  <a:lnTo>
                    <a:pt x="485" y="607"/>
                  </a:lnTo>
                  <a:lnTo>
                    <a:pt x="490" y="622"/>
                  </a:lnTo>
                  <a:lnTo>
                    <a:pt x="496" y="637"/>
                  </a:lnTo>
                  <a:lnTo>
                    <a:pt x="503" y="652"/>
                  </a:lnTo>
                  <a:lnTo>
                    <a:pt x="511" y="666"/>
                  </a:lnTo>
                  <a:lnTo>
                    <a:pt x="520" y="678"/>
                  </a:lnTo>
                  <a:lnTo>
                    <a:pt x="530" y="692"/>
                  </a:lnTo>
                  <a:lnTo>
                    <a:pt x="540" y="705"/>
                  </a:lnTo>
                  <a:lnTo>
                    <a:pt x="550" y="718"/>
                  </a:lnTo>
                  <a:lnTo>
                    <a:pt x="562" y="729"/>
                  </a:lnTo>
                  <a:lnTo>
                    <a:pt x="573" y="741"/>
                  </a:lnTo>
                  <a:lnTo>
                    <a:pt x="596" y="713"/>
                  </a:lnTo>
                  <a:lnTo>
                    <a:pt x="618" y="685"/>
                  </a:lnTo>
                  <a:lnTo>
                    <a:pt x="642" y="659"/>
                  </a:lnTo>
                  <a:lnTo>
                    <a:pt x="665" y="631"/>
                  </a:lnTo>
                  <a:lnTo>
                    <a:pt x="690" y="605"/>
                  </a:lnTo>
                  <a:lnTo>
                    <a:pt x="714" y="579"/>
                  </a:lnTo>
                  <a:lnTo>
                    <a:pt x="739" y="554"/>
                  </a:lnTo>
                  <a:lnTo>
                    <a:pt x="765" y="529"/>
                  </a:lnTo>
                  <a:lnTo>
                    <a:pt x="748" y="513"/>
                  </a:lnTo>
                  <a:lnTo>
                    <a:pt x="733" y="495"/>
                  </a:lnTo>
                  <a:lnTo>
                    <a:pt x="721" y="478"/>
                  </a:lnTo>
                  <a:lnTo>
                    <a:pt x="709" y="458"/>
                  </a:lnTo>
                  <a:lnTo>
                    <a:pt x="699" y="439"/>
                  </a:lnTo>
                  <a:lnTo>
                    <a:pt x="691" y="418"/>
                  </a:lnTo>
                  <a:lnTo>
                    <a:pt x="688" y="407"/>
                  </a:lnTo>
                  <a:lnTo>
                    <a:pt x="686" y="396"/>
                  </a:lnTo>
                  <a:lnTo>
                    <a:pt x="684" y="385"/>
                  </a:lnTo>
                  <a:lnTo>
                    <a:pt x="683" y="374"/>
                  </a:lnTo>
                  <a:close/>
                  <a:moveTo>
                    <a:pt x="427" y="549"/>
                  </a:moveTo>
                  <a:lnTo>
                    <a:pt x="389" y="583"/>
                  </a:lnTo>
                  <a:lnTo>
                    <a:pt x="353" y="619"/>
                  </a:lnTo>
                  <a:lnTo>
                    <a:pt x="318" y="655"/>
                  </a:lnTo>
                  <a:lnTo>
                    <a:pt x="285" y="695"/>
                  </a:lnTo>
                  <a:lnTo>
                    <a:pt x="269" y="714"/>
                  </a:lnTo>
                  <a:lnTo>
                    <a:pt x="253" y="735"/>
                  </a:lnTo>
                  <a:lnTo>
                    <a:pt x="238" y="756"/>
                  </a:lnTo>
                  <a:lnTo>
                    <a:pt x="224" y="776"/>
                  </a:lnTo>
                  <a:lnTo>
                    <a:pt x="210" y="797"/>
                  </a:lnTo>
                  <a:lnTo>
                    <a:pt x="197" y="819"/>
                  </a:lnTo>
                  <a:lnTo>
                    <a:pt x="184" y="841"/>
                  </a:lnTo>
                  <a:lnTo>
                    <a:pt x="171" y="864"/>
                  </a:lnTo>
                  <a:lnTo>
                    <a:pt x="172" y="886"/>
                  </a:lnTo>
                  <a:lnTo>
                    <a:pt x="174" y="908"/>
                  </a:lnTo>
                  <a:lnTo>
                    <a:pt x="177" y="928"/>
                  </a:lnTo>
                  <a:lnTo>
                    <a:pt x="180" y="950"/>
                  </a:lnTo>
                  <a:lnTo>
                    <a:pt x="185" y="971"/>
                  </a:lnTo>
                  <a:lnTo>
                    <a:pt x="192" y="992"/>
                  </a:lnTo>
                  <a:lnTo>
                    <a:pt x="199" y="1011"/>
                  </a:lnTo>
                  <a:lnTo>
                    <a:pt x="207" y="1031"/>
                  </a:lnTo>
                  <a:lnTo>
                    <a:pt x="216" y="1051"/>
                  </a:lnTo>
                  <a:lnTo>
                    <a:pt x="227" y="1070"/>
                  </a:lnTo>
                  <a:lnTo>
                    <a:pt x="237" y="1089"/>
                  </a:lnTo>
                  <a:lnTo>
                    <a:pt x="250" y="1106"/>
                  </a:lnTo>
                  <a:lnTo>
                    <a:pt x="262" y="1123"/>
                  </a:lnTo>
                  <a:lnTo>
                    <a:pt x="275" y="1140"/>
                  </a:lnTo>
                  <a:lnTo>
                    <a:pt x="290" y="1157"/>
                  </a:lnTo>
                  <a:lnTo>
                    <a:pt x="305" y="1173"/>
                  </a:lnTo>
                  <a:lnTo>
                    <a:pt x="329" y="1121"/>
                  </a:lnTo>
                  <a:lnTo>
                    <a:pt x="357" y="1069"/>
                  </a:lnTo>
                  <a:lnTo>
                    <a:pt x="384" y="1018"/>
                  </a:lnTo>
                  <a:lnTo>
                    <a:pt x="414" y="969"/>
                  </a:lnTo>
                  <a:lnTo>
                    <a:pt x="445" y="919"/>
                  </a:lnTo>
                  <a:lnTo>
                    <a:pt x="478" y="871"/>
                  </a:lnTo>
                  <a:lnTo>
                    <a:pt x="511" y="824"/>
                  </a:lnTo>
                  <a:lnTo>
                    <a:pt x="546" y="776"/>
                  </a:lnTo>
                  <a:lnTo>
                    <a:pt x="534" y="766"/>
                  </a:lnTo>
                  <a:lnTo>
                    <a:pt x="523" y="753"/>
                  </a:lnTo>
                  <a:lnTo>
                    <a:pt x="511" y="742"/>
                  </a:lnTo>
                  <a:lnTo>
                    <a:pt x="501" y="729"/>
                  </a:lnTo>
                  <a:lnTo>
                    <a:pt x="490" y="715"/>
                  </a:lnTo>
                  <a:lnTo>
                    <a:pt x="481" y="703"/>
                  </a:lnTo>
                  <a:lnTo>
                    <a:pt x="472" y="689"/>
                  </a:lnTo>
                  <a:lnTo>
                    <a:pt x="464" y="674"/>
                  </a:lnTo>
                  <a:lnTo>
                    <a:pt x="456" y="660"/>
                  </a:lnTo>
                  <a:lnTo>
                    <a:pt x="450" y="645"/>
                  </a:lnTo>
                  <a:lnTo>
                    <a:pt x="443" y="630"/>
                  </a:lnTo>
                  <a:lnTo>
                    <a:pt x="439" y="614"/>
                  </a:lnTo>
                  <a:lnTo>
                    <a:pt x="434" y="598"/>
                  </a:lnTo>
                  <a:lnTo>
                    <a:pt x="430" y="582"/>
                  </a:lnTo>
                  <a:lnTo>
                    <a:pt x="428" y="566"/>
                  </a:lnTo>
                  <a:lnTo>
                    <a:pt x="427" y="549"/>
                  </a:lnTo>
                  <a:close/>
                  <a:moveTo>
                    <a:pt x="1093" y="316"/>
                  </a:moveTo>
                  <a:lnTo>
                    <a:pt x="1112" y="329"/>
                  </a:lnTo>
                  <a:lnTo>
                    <a:pt x="1134" y="341"/>
                  </a:lnTo>
                  <a:lnTo>
                    <a:pt x="1156" y="351"/>
                  </a:lnTo>
                  <a:lnTo>
                    <a:pt x="1179" y="360"/>
                  </a:lnTo>
                  <a:lnTo>
                    <a:pt x="1199" y="334"/>
                  </a:lnTo>
                  <a:lnTo>
                    <a:pt x="1218" y="309"/>
                  </a:lnTo>
                  <a:lnTo>
                    <a:pt x="1240" y="283"/>
                  </a:lnTo>
                  <a:lnTo>
                    <a:pt x="1262" y="258"/>
                  </a:lnTo>
                  <a:lnTo>
                    <a:pt x="1253" y="250"/>
                  </a:lnTo>
                  <a:lnTo>
                    <a:pt x="1246" y="241"/>
                  </a:lnTo>
                  <a:lnTo>
                    <a:pt x="1226" y="248"/>
                  </a:lnTo>
                  <a:lnTo>
                    <a:pt x="1207" y="256"/>
                  </a:lnTo>
                  <a:lnTo>
                    <a:pt x="1187" y="265"/>
                  </a:lnTo>
                  <a:lnTo>
                    <a:pt x="1168" y="274"/>
                  </a:lnTo>
                  <a:lnTo>
                    <a:pt x="1130" y="294"/>
                  </a:lnTo>
                  <a:lnTo>
                    <a:pt x="1093" y="316"/>
                  </a:lnTo>
                  <a:close/>
                  <a:moveTo>
                    <a:pt x="1058" y="337"/>
                  </a:moveTo>
                  <a:lnTo>
                    <a:pt x="1027" y="358"/>
                  </a:lnTo>
                  <a:lnTo>
                    <a:pt x="996" y="380"/>
                  </a:lnTo>
                  <a:lnTo>
                    <a:pt x="965" y="403"/>
                  </a:lnTo>
                  <a:lnTo>
                    <a:pt x="936" y="426"/>
                  </a:lnTo>
                  <a:lnTo>
                    <a:pt x="906" y="450"/>
                  </a:lnTo>
                  <a:lnTo>
                    <a:pt x="877" y="476"/>
                  </a:lnTo>
                  <a:lnTo>
                    <a:pt x="850" y="501"/>
                  </a:lnTo>
                  <a:lnTo>
                    <a:pt x="822" y="526"/>
                  </a:lnTo>
                  <a:lnTo>
                    <a:pt x="844" y="543"/>
                  </a:lnTo>
                  <a:lnTo>
                    <a:pt x="868" y="557"/>
                  </a:lnTo>
                  <a:lnTo>
                    <a:pt x="892" y="570"/>
                  </a:lnTo>
                  <a:lnTo>
                    <a:pt x="918" y="583"/>
                  </a:lnTo>
                  <a:lnTo>
                    <a:pt x="943" y="594"/>
                  </a:lnTo>
                  <a:lnTo>
                    <a:pt x="968" y="605"/>
                  </a:lnTo>
                  <a:lnTo>
                    <a:pt x="995" y="614"/>
                  </a:lnTo>
                  <a:lnTo>
                    <a:pt x="1021" y="623"/>
                  </a:lnTo>
                  <a:lnTo>
                    <a:pt x="1036" y="593"/>
                  </a:lnTo>
                  <a:lnTo>
                    <a:pt x="1053" y="564"/>
                  </a:lnTo>
                  <a:lnTo>
                    <a:pt x="1069" y="534"/>
                  </a:lnTo>
                  <a:lnTo>
                    <a:pt x="1085" y="506"/>
                  </a:lnTo>
                  <a:lnTo>
                    <a:pt x="1102" y="477"/>
                  </a:lnTo>
                  <a:lnTo>
                    <a:pt x="1119" y="449"/>
                  </a:lnTo>
                  <a:lnTo>
                    <a:pt x="1138" y="422"/>
                  </a:lnTo>
                  <a:lnTo>
                    <a:pt x="1156" y="393"/>
                  </a:lnTo>
                  <a:lnTo>
                    <a:pt x="1130" y="382"/>
                  </a:lnTo>
                  <a:lnTo>
                    <a:pt x="1104" y="370"/>
                  </a:lnTo>
                  <a:lnTo>
                    <a:pt x="1093" y="363"/>
                  </a:lnTo>
                  <a:lnTo>
                    <a:pt x="1080" y="355"/>
                  </a:lnTo>
                  <a:lnTo>
                    <a:pt x="1069" y="347"/>
                  </a:lnTo>
                  <a:lnTo>
                    <a:pt x="1058" y="337"/>
                  </a:lnTo>
                  <a:close/>
                  <a:moveTo>
                    <a:pt x="793" y="554"/>
                  </a:moveTo>
                  <a:lnTo>
                    <a:pt x="768" y="579"/>
                  </a:lnTo>
                  <a:lnTo>
                    <a:pt x="744" y="605"/>
                  </a:lnTo>
                  <a:lnTo>
                    <a:pt x="720" y="631"/>
                  </a:lnTo>
                  <a:lnTo>
                    <a:pt x="695" y="658"/>
                  </a:lnTo>
                  <a:lnTo>
                    <a:pt x="671" y="684"/>
                  </a:lnTo>
                  <a:lnTo>
                    <a:pt x="648" y="711"/>
                  </a:lnTo>
                  <a:lnTo>
                    <a:pt x="625" y="738"/>
                  </a:lnTo>
                  <a:lnTo>
                    <a:pt x="603" y="766"/>
                  </a:lnTo>
                  <a:lnTo>
                    <a:pt x="618" y="779"/>
                  </a:lnTo>
                  <a:lnTo>
                    <a:pt x="635" y="791"/>
                  </a:lnTo>
                  <a:lnTo>
                    <a:pt x="652" y="803"/>
                  </a:lnTo>
                  <a:lnTo>
                    <a:pt x="669" y="813"/>
                  </a:lnTo>
                  <a:lnTo>
                    <a:pt x="703" y="834"/>
                  </a:lnTo>
                  <a:lnTo>
                    <a:pt x="740" y="854"/>
                  </a:lnTo>
                  <a:lnTo>
                    <a:pt x="777" y="871"/>
                  </a:lnTo>
                  <a:lnTo>
                    <a:pt x="814" y="886"/>
                  </a:lnTo>
                  <a:lnTo>
                    <a:pt x="852" y="900"/>
                  </a:lnTo>
                  <a:lnTo>
                    <a:pt x="891" y="912"/>
                  </a:lnTo>
                  <a:lnTo>
                    <a:pt x="904" y="880"/>
                  </a:lnTo>
                  <a:lnTo>
                    <a:pt x="917" y="848"/>
                  </a:lnTo>
                  <a:lnTo>
                    <a:pt x="930" y="817"/>
                  </a:lnTo>
                  <a:lnTo>
                    <a:pt x="944" y="784"/>
                  </a:lnTo>
                  <a:lnTo>
                    <a:pt x="959" y="752"/>
                  </a:lnTo>
                  <a:lnTo>
                    <a:pt x="973" y="721"/>
                  </a:lnTo>
                  <a:lnTo>
                    <a:pt x="988" y="689"/>
                  </a:lnTo>
                  <a:lnTo>
                    <a:pt x="1003" y="658"/>
                  </a:lnTo>
                  <a:lnTo>
                    <a:pt x="975" y="649"/>
                  </a:lnTo>
                  <a:lnTo>
                    <a:pt x="948" y="638"/>
                  </a:lnTo>
                  <a:lnTo>
                    <a:pt x="921" y="628"/>
                  </a:lnTo>
                  <a:lnTo>
                    <a:pt x="894" y="615"/>
                  </a:lnTo>
                  <a:lnTo>
                    <a:pt x="868" y="601"/>
                  </a:lnTo>
                  <a:lnTo>
                    <a:pt x="842" y="586"/>
                  </a:lnTo>
                  <a:lnTo>
                    <a:pt x="818" y="571"/>
                  </a:lnTo>
                  <a:lnTo>
                    <a:pt x="793" y="554"/>
                  </a:lnTo>
                  <a:close/>
                  <a:moveTo>
                    <a:pt x="576" y="803"/>
                  </a:moveTo>
                  <a:lnTo>
                    <a:pt x="540" y="849"/>
                  </a:lnTo>
                  <a:lnTo>
                    <a:pt x="506" y="897"/>
                  </a:lnTo>
                  <a:lnTo>
                    <a:pt x="474" y="946"/>
                  </a:lnTo>
                  <a:lnTo>
                    <a:pt x="443" y="995"/>
                  </a:lnTo>
                  <a:lnTo>
                    <a:pt x="414" y="1046"/>
                  </a:lnTo>
                  <a:lnTo>
                    <a:pt x="386" y="1097"/>
                  </a:lnTo>
                  <a:lnTo>
                    <a:pt x="359" y="1149"/>
                  </a:lnTo>
                  <a:lnTo>
                    <a:pt x="334" y="1202"/>
                  </a:lnTo>
                  <a:lnTo>
                    <a:pt x="356" y="1220"/>
                  </a:lnTo>
                  <a:lnTo>
                    <a:pt x="377" y="1237"/>
                  </a:lnTo>
                  <a:lnTo>
                    <a:pt x="400" y="1255"/>
                  </a:lnTo>
                  <a:lnTo>
                    <a:pt x="424" y="1271"/>
                  </a:lnTo>
                  <a:lnTo>
                    <a:pt x="448" y="1286"/>
                  </a:lnTo>
                  <a:lnTo>
                    <a:pt x="473" y="1301"/>
                  </a:lnTo>
                  <a:lnTo>
                    <a:pt x="497" y="1314"/>
                  </a:lnTo>
                  <a:lnTo>
                    <a:pt x="523" y="1327"/>
                  </a:lnTo>
                  <a:lnTo>
                    <a:pt x="549" y="1340"/>
                  </a:lnTo>
                  <a:lnTo>
                    <a:pt x="574" y="1351"/>
                  </a:lnTo>
                  <a:lnTo>
                    <a:pt x="601" y="1363"/>
                  </a:lnTo>
                  <a:lnTo>
                    <a:pt x="627" y="1373"/>
                  </a:lnTo>
                  <a:lnTo>
                    <a:pt x="680" y="1393"/>
                  </a:lnTo>
                  <a:lnTo>
                    <a:pt x="735" y="1410"/>
                  </a:lnTo>
                  <a:lnTo>
                    <a:pt x="748" y="1352"/>
                  </a:lnTo>
                  <a:lnTo>
                    <a:pt x="765" y="1295"/>
                  </a:lnTo>
                  <a:lnTo>
                    <a:pt x="781" y="1237"/>
                  </a:lnTo>
                  <a:lnTo>
                    <a:pt x="797" y="1181"/>
                  </a:lnTo>
                  <a:lnTo>
                    <a:pt x="815" y="1124"/>
                  </a:lnTo>
                  <a:lnTo>
                    <a:pt x="834" y="1068"/>
                  </a:lnTo>
                  <a:lnTo>
                    <a:pt x="853" y="1011"/>
                  </a:lnTo>
                  <a:lnTo>
                    <a:pt x="874" y="956"/>
                  </a:lnTo>
                  <a:lnTo>
                    <a:pt x="835" y="942"/>
                  </a:lnTo>
                  <a:lnTo>
                    <a:pt x="794" y="927"/>
                  </a:lnTo>
                  <a:lnTo>
                    <a:pt x="755" y="911"/>
                  </a:lnTo>
                  <a:lnTo>
                    <a:pt x="717" y="893"/>
                  </a:lnTo>
                  <a:lnTo>
                    <a:pt x="680" y="873"/>
                  </a:lnTo>
                  <a:lnTo>
                    <a:pt x="644" y="851"/>
                  </a:lnTo>
                  <a:lnTo>
                    <a:pt x="626" y="840"/>
                  </a:lnTo>
                  <a:lnTo>
                    <a:pt x="609" y="828"/>
                  </a:lnTo>
                  <a:lnTo>
                    <a:pt x="592" y="816"/>
                  </a:lnTo>
                  <a:lnTo>
                    <a:pt x="576" y="803"/>
                  </a:lnTo>
                  <a:close/>
                  <a:moveTo>
                    <a:pt x="318" y="1238"/>
                  </a:moveTo>
                  <a:lnTo>
                    <a:pt x="296" y="1293"/>
                  </a:lnTo>
                  <a:lnTo>
                    <a:pt x="276" y="1347"/>
                  </a:lnTo>
                  <a:lnTo>
                    <a:pt x="258" y="1401"/>
                  </a:lnTo>
                  <a:lnTo>
                    <a:pt x="242" y="1457"/>
                  </a:lnTo>
                  <a:lnTo>
                    <a:pt x="235" y="1485"/>
                  </a:lnTo>
                  <a:lnTo>
                    <a:pt x="229" y="1513"/>
                  </a:lnTo>
                  <a:lnTo>
                    <a:pt x="223" y="1541"/>
                  </a:lnTo>
                  <a:lnTo>
                    <a:pt x="217" y="1570"/>
                  </a:lnTo>
                  <a:lnTo>
                    <a:pt x="213" y="1598"/>
                  </a:lnTo>
                  <a:lnTo>
                    <a:pt x="209" y="1627"/>
                  </a:lnTo>
                  <a:lnTo>
                    <a:pt x="207" y="1655"/>
                  </a:lnTo>
                  <a:lnTo>
                    <a:pt x="205" y="1684"/>
                  </a:lnTo>
                  <a:lnTo>
                    <a:pt x="229" y="1706"/>
                  </a:lnTo>
                  <a:lnTo>
                    <a:pt x="254" y="1726"/>
                  </a:lnTo>
                  <a:lnTo>
                    <a:pt x="280" y="1745"/>
                  </a:lnTo>
                  <a:lnTo>
                    <a:pt x="306" y="1763"/>
                  </a:lnTo>
                  <a:lnTo>
                    <a:pt x="334" y="1780"/>
                  </a:lnTo>
                  <a:lnTo>
                    <a:pt x="361" y="1796"/>
                  </a:lnTo>
                  <a:lnTo>
                    <a:pt x="390" y="1812"/>
                  </a:lnTo>
                  <a:lnTo>
                    <a:pt x="419" y="1826"/>
                  </a:lnTo>
                  <a:lnTo>
                    <a:pt x="449" y="1840"/>
                  </a:lnTo>
                  <a:lnTo>
                    <a:pt x="479" y="1852"/>
                  </a:lnTo>
                  <a:lnTo>
                    <a:pt x="509" y="1865"/>
                  </a:lnTo>
                  <a:lnTo>
                    <a:pt x="539" y="1877"/>
                  </a:lnTo>
                  <a:lnTo>
                    <a:pt x="600" y="1897"/>
                  </a:lnTo>
                  <a:lnTo>
                    <a:pt x="661" y="1916"/>
                  </a:lnTo>
                  <a:lnTo>
                    <a:pt x="664" y="1857"/>
                  </a:lnTo>
                  <a:lnTo>
                    <a:pt x="669" y="1798"/>
                  </a:lnTo>
                  <a:lnTo>
                    <a:pt x="675" y="1740"/>
                  </a:lnTo>
                  <a:lnTo>
                    <a:pt x="683" y="1681"/>
                  </a:lnTo>
                  <a:lnTo>
                    <a:pt x="692" y="1622"/>
                  </a:lnTo>
                  <a:lnTo>
                    <a:pt x="702" y="1563"/>
                  </a:lnTo>
                  <a:lnTo>
                    <a:pt x="714" y="1506"/>
                  </a:lnTo>
                  <a:lnTo>
                    <a:pt x="727" y="1448"/>
                  </a:lnTo>
                  <a:lnTo>
                    <a:pt x="671" y="1431"/>
                  </a:lnTo>
                  <a:lnTo>
                    <a:pt x="617" y="1411"/>
                  </a:lnTo>
                  <a:lnTo>
                    <a:pt x="591" y="1400"/>
                  </a:lnTo>
                  <a:lnTo>
                    <a:pt x="563" y="1389"/>
                  </a:lnTo>
                  <a:lnTo>
                    <a:pt x="536" y="1377"/>
                  </a:lnTo>
                  <a:lnTo>
                    <a:pt x="511" y="1364"/>
                  </a:lnTo>
                  <a:lnTo>
                    <a:pt x="485" y="1351"/>
                  </a:lnTo>
                  <a:lnTo>
                    <a:pt x="459" y="1337"/>
                  </a:lnTo>
                  <a:lnTo>
                    <a:pt x="434" y="1322"/>
                  </a:lnTo>
                  <a:lnTo>
                    <a:pt x="410" y="1308"/>
                  </a:lnTo>
                  <a:lnTo>
                    <a:pt x="386" y="1291"/>
                  </a:lnTo>
                  <a:lnTo>
                    <a:pt x="362" y="1275"/>
                  </a:lnTo>
                  <a:lnTo>
                    <a:pt x="339" y="1257"/>
                  </a:lnTo>
                  <a:lnTo>
                    <a:pt x="318" y="1238"/>
                  </a:lnTo>
                  <a:close/>
                  <a:moveTo>
                    <a:pt x="202" y="1736"/>
                  </a:moveTo>
                  <a:lnTo>
                    <a:pt x="203" y="1761"/>
                  </a:lnTo>
                  <a:lnTo>
                    <a:pt x="203" y="1787"/>
                  </a:lnTo>
                  <a:lnTo>
                    <a:pt x="206" y="1812"/>
                  </a:lnTo>
                  <a:lnTo>
                    <a:pt x="208" y="1837"/>
                  </a:lnTo>
                  <a:lnTo>
                    <a:pt x="212" y="1863"/>
                  </a:lnTo>
                  <a:lnTo>
                    <a:pt x="215" y="1887"/>
                  </a:lnTo>
                  <a:lnTo>
                    <a:pt x="220" y="1912"/>
                  </a:lnTo>
                  <a:lnTo>
                    <a:pt x="225" y="1937"/>
                  </a:lnTo>
                  <a:lnTo>
                    <a:pt x="231" y="1962"/>
                  </a:lnTo>
                  <a:lnTo>
                    <a:pt x="238" y="1986"/>
                  </a:lnTo>
                  <a:lnTo>
                    <a:pt x="246" y="2010"/>
                  </a:lnTo>
                  <a:lnTo>
                    <a:pt x="254" y="2033"/>
                  </a:lnTo>
                  <a:lnTo>
                    <a:pt x="265" y="2058"/>
                  </a:lnTo>
                  <a:lnTo>
                    <a:pt x="275" y="2081"/>
                  </a:lnTo>
                  <a:lnTo>
                    <a:pt x="285" y="2104"/>
                  </a:lnTo>
                  <a:lnTo>
                    <a:pt x="297" y="2126"/>
                  </a:lnTo>
                  <a:lnTo>
                    <a:pt x="320" y="2145"/>
                  </a:lnTo>
                  <a:lnTo>
                    <a:pt x="342" y="2162"/>
                  </a:lnTo>
                  <a:lnTo>
                    <a:pt x="365" y="2181"/>
                  </a:lnTo>
                  <a:lnTo>
                    <a:pt x="389" y="2197"/>
                  </a:lnTo>
                  <a:lnTo>
                    <a:pt x="413" y="2213"/>
                  </a:lnTo>
                  <a:lnTo>
                    <a:pt x="439" y="2228"/>
                  </a:lnTo>
                  <a:lnTo>
                    <a:pt x="464" y="2243"/>
                  </a:lnTo>
                  <a:lnTo>
                    <a:pt x="489" y="2257"/>
                  </a:lnTo>
                  <a:lnTo>
                    <a:pt x="516" y="2270"/>
                  </a:lnTo>
                  <a:lnTo>
                    <a:pt x="542" y="2282"/>
                  </a:lnTo>
                  <a:lnTo>
                    <a:pt x="569" y="2294"/>
                  </a:lnTo>
                  <a:lnTo>
                    <a:pt x="595" y="2305"/>
                  </a:lnTo>
                  <a:lnTo>
                    <a:pt x="649" y="2326"/>
                  </a:lnTo>
                  <a:lnTo>
                    <a:pt x="705" y="2346"/>
                  </a:lnTo>
                  <a:lnTo>
                    <a:pt x="698" y="2321"/>
                  </a:lnTo>
                  <a:lnTo>
                    <a:pt x="692" y="2298"/>
                  </a:lnTo>
                  <a:lnTo>
                    <a:pt x="686" y="2274"/>
                  </a:lnTo>
                  <a:lnTo>
                    <a:pt x="682" y="2250"/>
                  </a:lnTo>
                  <a:lnTo>
                    <a:pt x="674" y="2202"/>
                  </a:lnTo>
                  <a:lnTo>
                    <a:pt x="667" y="2152"/>
                  </a:lnTo>
                  <a:lnTo>
                    <a:pt x="663" y="2104"/>
                  </a:lnTo>
                  <a:lnTo>
                    <a:pt x="661" y="2054"/>
                  </a:lnTo>
                  <a:lnTo>
                    <a:pt x="660" y="2006"/>
                  </a:lnTo>
                  <a:lnTo>
                    <a:pt x="660" y="1956"/>
                  </a:lnTo>
                  <a:lnTo>
                    <a:pt x="599" y="1938"/>
                  </a:lnTo>
                  <a:lnTo>
                    <a:pt x="539" y="1918"/>
                  </a:lnTo>
                  <a:lnTo>
                    <a:pt x="509" y="1907"/>
                  </a:lnTo>
                  <a:lnTo>
                    <a:pt x="479" y="1895"/>
                  </a:lnTo>
                  <a:lnTo>
                    <a:pt x="449" y="1882"/>
                  </a:lnTo>
                  <a:lnTo>
                    <a:pt x="419" y="1870"/>
                  </a:lnTo>
                  <a:lnTo>
                    <a:pt x="390" y="1856"/>
                  </a:lnTo>
                  <a:lnTo>
                    <a:pt x="362" y="1841"/>
                  </a:lnTo>
                  <a:lnTo>
                    <a:pt x="334" y="1826"/>
                  </a:lnTo>
                  <a:lnTo>
                    <a:pt x="306" y="1810"/>
                  </a:lnTo>
                  <a:lnTo>
                    <a:pt x="280" y="1793"/>
                  </a:lnTo>
                  <a:lnTo>
                    <a:pt x="253" y="1774"/>
                  </a:lnTo>
                  <a:lnTo>
                    <a:pt x="228" y="1756"/>
                  </a:lnTo>
                  <a:lnTo>
                    <a:pt x="202" y="1736"/>
                  </a:lnTo>
                  <a:close/>
                  <a:moveTo>
                    <a:pt x="377" y="2236"/>
                  </a:moveTo>
                  <a:lnTo>
                    <a:pt x="399" y="2259"/>
                  </a:lnTo>
                  <a:lnTo>
                    <a:pt x="422" y="2281"/>
                  </a:lnTo>
                  <a:lnTo>
                    <a:pt x="445" y="2303"/>
                  </a:lnTo>
                  <a:lnTo>
                    <a:pt x="470" y="2324"/>
                  </a:lnTo>
                  <a:lnTo>
                    <a:pt x="494" y="2344"/>
                  </a:lnTo>
                  <a:lnTo>
                    <a:pt x="518" y="2365"/>
                  </a:lnTo>
                  <a:lnTo>
                    <a:pt x="543" y="2384"/>
                  </a:lnTo>
                  <a:lnTo>
                    <a:pt x="570" y="2403"/>
                  </a:lnTo>
                  <a:lnTo>
                    <a:pt x="595" y="2420"/>
                  </a:lnTo>
                  <a:lnTo>
                    <a:pt x="622" y="2439"/>
                  </a:lnTo>
                  <a:lnTo>
                    <a:pt x="648" y="2455"/>
                  </a:lnTo>
                  <a:lnTo>
                    <a:pt x="676" y="2471"/>
                  </a:lnTo>
                  <a:lnTo>
                    <a:pt x="703" y="2487"/>
                  </a:lnTo>
                  <a:lnTo>
                    <a:pt x="732" y="2502"/>
                  </a:lnTo>
                  <a:lnTo>
                    <a:pt x="760" y="2516"/>
                  </a:lnTo>
                  <a:lnTo>
                    <a:pt x="789" y="2530"/>
                  </a:lnTo>
                  <a:lnTo>
                    <a:pt x="778" y="2514"/>
                  </a:lnTo>
                  <a:lnTo>
                    <a:pt x="768" y="2498"/>
                  </a:lnTo>
                  <a:lnTo>
                    <a:pt x="759" y="2480"/>
                  </a:lnTo>
                  <a:lnTo>
                    <a:pt x="750" y="2463"/>
                  </a:lnTo>
                  <a:lnTo>
                    <a:pt x="733" y="2427"/>
                  </a:lnTo>
                  <a:lnTo>
                    <a:pt x="720" y="2390"/>
                  </a:lnTo>
                  <a:lnTo>
                    <a:pt x="675" y="2377"/>
                  </a:lnTo>
                  <a:lnTo>
                    <a:pt x="631" y="2361"/>
                  </a:lnTo>
                  <a:lnTo>
                    <a:pt x="586" y="2344"/>
                  </a:lnTo>
                  <a:lnTo>
                    <a:pt x="543" y="2326"/>
                  </a:lnTo>
                  <a:lnTo>
                    <a:pt x="501" y="2305"/>
                  </a:lnTo>
                  <a:lnTo>
                    <a:pt x="458" y="2284"/>
                  </a:lnTo>
                  <a:lnTo>
                    <a:pt x="418" y="2261"/>
                  </a:lnTo>
                  <a:lnTo>
                    <a:pt x="377" y="2236"/>
                  </a:lnTo>
                  <a:close/>
                  <a:moveTo>
                    <a:pt x="1218" y="373"/>
                  </a:moveTo>
                  <a:lnTo>
                    <a:pt x="1238" y="378"/>
                  </a:lnTo>
                  <a:lnTo>
                    <a:pt x="1256" y="381"/>
                  </a:lnTo>
                  <a:lnTo>
                    <a:pt x="1276" y="385"/>
                  </a:lnTo>
                  <a:lnTo>
                    <a:pt x="1296" y="388"/>
                  </a:lnTo>
                  <a:lnTo>
                    <a:pt x="1316" y="389"/>
                  </a:lnTo>
                  <a:lnTo>
                    <a:pt x="1336" y="392"/>
                  </a:lnTo>
                  <a:lnTo>
                    <a:pt x="1355" y="393"/>
                  </a:lnTo>
                  <a:lnTo>
                    <a:pt x="1375" y="393"/>
                  </a:lnTo>
                  <a:lnTo>
                    <a:pt x="1375" y="296"/>
                  </a:lnTo>
                  <a:lnTo>
                    <a:pt x="1354" y="295"/>
                  </a:lnTo>
                  <a:lnTo>
                    <a:pt x="1335" y="291"/>
                  </a:lnTo>
                  <a:lnTo>
                    <a:pt x="1314" y="287"/>
                  </a:lnTo>
                  <a:lnTo>
                    <a:pt x="1296" y="280"/>
                  </a:lnTo>
                  <a:lnTo>
                    <a:pt x="1275" y="302"/>
                  </a:lnTo>
                  <a:lnTo>
                    <a:pt x="1255" y="325"/>
                  </a:lnTo>
                  <a:lnTo>
                    <a:pt x="1237" y="349"/>
                  </a:lnTo>
                  <a:lnTo>
                    <a:pt x="1218" y="373"/>
                  </a:lnTo>
                  <a:close/>
                  <a:moveTo>
                    <a:pt x="1194" y="407"/>
                  </a:moveTo>
                  <a:lnTo>
                    <a:pt x="1176" y="433"/>
                  </a:lnTo>
                  <a:lnTo>
                    <a:pt x="1157" y="462"/>
                  </a:lnTo>
                  <a:lnTo>
                    <a:pt x="1140" y="490"/>
                  </a:lnTo>
                  <a:lnTo>
                    <a:pt x="1123" y="518"/>
                  </a:lnTo>
                  <a:lnTo>
                    <a:pt x="1107" y="546"/>
                  </a:lnTo>
                  <a:lnTo>
                    <a:pt x="1091" y="575"/>
                  </a:lnTo>
                  <a:lnTo>
                    <a:pt x="1074" y="605"/>
                  </a:lnTo>
                  <a:lnTo>
                    <a:pt x="1059" y="634"/>
                  </a:lnTo>
                  <a:lnTo>
                    <a:pt x="1099" y="643"/>
                  </a:lnTo>
                  <a:lnTo>
                    <a:pt x="1138" y="652"/>
                  </a:lnTo>
                  <a:lnTo>
                    <a:pt x="1177" y="658"/>
                  </a:lnTo>
                  <a:lnTo>
                    <a:pt x="1216" y="663"/>
                  </a:lnTo>
                  <a:lnTo>
                    <a:pt x="1255" y="668"/>
                  </a:lnTo>
                  <a:lnTo>
                    <a:pt x="1296" y="670"/>
                  </a:lnTo>
                  <a:lnTo>
                    <a:pt x="1336" y="673"/>
                  </a:lnTo>
                  <a:lnTo>
                    <a:pt x="1375" y="674"/>
                  </a:lnTo>
                  <a:lnTo>
                    <a:pt x="1375" y="432"/>
                  </a:lnTo>
                  <a:lnTo>
                    <a:pt x="1352" y="431"/>
                  </a:lnTo>
                  <a:lnTo>
                    <a:pt x="1329" y="430"/>
                  </a:lnTo>
                  <a:lnTo>
                    <a:pt x="1307" y="428"/>
                  </a:lnTo>
                  <a:lnTo>
                    <a:pt x="1284" y="425"/>
                  </a:lnTo>
                  <a:lnTo>
                    <a:pt x="1261" y="422"/>
                  </a:lnTo>
                  <a:lnTo>
                    <a:pt x="1239" y="417"/>
                  </a:lnTo>
                  <a:lnTo>
                    <a:pt x="1216" y="412"/>
                  </a:lnTo>
                  <a:lnTo>
                    <a:pt x="1194" y="407"/>
                  </a:lnTo>
                  <a:close/>
                  <a:moveTo>
                    <a:pt x="1041" y="669"/>
                  </a:moveTo>
                  <a:lnTo>
                    <a:pt x="1026" y="700"/>
                  </a:lnTo>
                  <a:lnTo>
                    <a:pt x="1011" y="731"/>
                  </a:lnTo>
                  <a:lnTo>
                    <a:pt x="996" y="764"/>
                  </a:lnTo>
                  <a:lnTo>
                    <a:pt x="982" y="796"/>
                  </a:lnTo>
                  <a:lnTo>
                    <a:pt x="968" y="827"/>
                  </a:lnTo>
                  <a:lnTo>
                    <a:pt x="955" y="859"/>
                  </a:lnTo>
                  <a:lnTo>
                    <a:pt x="941" y="892"/>
                  </a:lnTo>
                  <a:lnTo>
                    <a:pt x="928" y="924"/>
                  </a:lnTo>
                  <a:lnTo>
                    <a:pt x="983" y="939"/>
                  </a:lnTo>
                  <a:lnTo>
                    <a:pt x="1039" y="950"/>
                  </a:lnTo>
                  <a:lnTo>
                    <a:pt x="1094" y="961"/>
                  </a:lnTo>
                  <a:lnTo>
                    <a:pt x="1149" y="969"/>
                  </a:lnTo>
                  <a:lnTo>
                    <a:pt x="1206" y="976"/>
                  </a:lnTo>
                  <a:lnTo>
                    <a:pt x="1262" y="980"/>
                  </a:lnTo>
                  <a:lnTo>
                    <a:pt x="1319" y="983"/>
                  </a:lnTo>
                  <a:lnTo>
                    <a:pt x="1375" y="984"/>
                  </a:lnTo>
                  <a:lnTo>
                    <a:pt x="1375" y="712"/>
                  </a:lnTo>
                  <a:lnTo>
                    <a:pt x="1335" y="712"/>
                  </a:lnTo>
                  <a:lnTo>
                    <a:pt x="1293" y="710"/>
                  </a:lnTo>
                  <a:lnTo>
                    <a:pt x="1253" y="706"/>
                  </a:lnTo>
                  <a:lnTo>
                    <a:pt x="1211" y="703"/>
                  </a:lnTo>
                  <a:lnTo>
                    <a:pt x="1168" y="696"/>
                  </a:lnTo>
                  <a:lnTo>
                    <a:pt x="1124" y="688"/>
                  </a:lnTo>
                  <a:lnTo>
                    <a:pt x="1081" y="678"/>
                  </a:lnTo>
                  <a:lnTo>
                    <a:pt x="1041" y="669"/>
                  </a:lnTo>
                  <a:close/>
                  <a:moveTo>
                    <a:pt x="912" y="968"/>
                  </a:moveTo>
                  <a:lnTo>
                    <a:pt x="891" y="1023"/>
                  </a:lnTo>
                  <a:lnTo>
                    <a:pt x="872" y="1079"/>
                  </a:lnTo>
                  <a:lnTo>
                    <a:pt x="852" y="1135"/>
                  </a:lnTo>
                  <a:lnTo>
                    <a:pt x="835" y="1192"/>
                  </a:lnTo>
                  <a:lnTo>
                    <a:pt x="818" y="1249"/>
                  </a:lnTo>
                  <a:lnTo>
                    <a:pt x="801" y="1306"/>
                  </a:lnTo>
                  <a:lnTo>
                    <a:pt x="786" y="1363"/>
                  </a:lnTo>
                  <a:lnTo>
                    <a:pt x="773" y="1422"/>
                  </a:lnTo>
                  <a:lnTo>
                    <a:pt x="808" y="1431"/>
                  </a:lnTo>
                  <a:lnTo>
                    <a:pt x="845" y="1440"/>
                  </a:lnTo>
                  <a:lnTo>
                    <a:pt x="883" y="1449"/>
                  </a:lnTo>
                  <a:lnTo>
                    <a:pt x="920" y="1456"/>
                  </a:lnTo>
                  <a:lnTo>
                    <a:pt x="958" y="1464"/>
                  </a:lnTo>
                  <a:lnTo>
                    <a:pt x="995" y="1470"/>
                  </a:lnTo>
                  <a:lnTo>
                    <a:pt x="1033" y="1476"/>
                  </a:lnTo>
                  <a:lnTo>
                    <a:pt x="1071" y="1481"/>
                  </a:lnTo>
                  <a:lnTo>
                    <a:pt x="1109" y="1486"/>
                  </a:lnTo>
                  <a:lnTo>
                    <a:pt x="1147" y="1490"/>
                  </a:lnTo>
                  <a:lnTo>
                    <a:pt x="1185" y="1493"/>
                  </a:lnTo>
                  <a:lnTo>
                    <a:pt x="1223" y="1495"/>
                  </a:lnTo>
                  <a:lnTo>
                    <a:pt x="1261" y="1498"/>
                  </a:lnTo>
                  <a:lnTo>
                    <a:pt x="1299" y="1500"/>
                  </a:lnTo>
                  <a:lnTo>
                    <a:pt x="1337" y="1500"/>
                  </a:lnTo>
                  <a:lnTo>
                    <a:pt x="1375" y="1501"/>
                  </a:lnTo>
                  <a:lnTo>
                    <a:pt x="1375" y="1030"/>
                  </a:lnTo>
                  <a:lnTo>
                    <a:pt x="1316" y="1029"/>
                  </a:lnTo>
                  <a:lnTo>
                    <a:pt x="1258" y="1026"/>
                  </a:lnTo>
                  <a:lnTo>
                    <a:pt x="1200" y="1022"/>
                  </a:lnTo>
                  <a:lnTo>
                    <a:pt x="1141" y="1015"/>
                  </a:lnTo>
                  <a:lnTo>
                    <a:pt x="1084" y="1006"/>
                  </a:lnTo>
                  <a:lnTo>
                    <a:pt x="1026" y="995"/>
                  </a:lnTo>
                  <a:lnTo>
                    <a:pt x="968" y="983"/>
                  </a:lnTo>
                  <a:lnTo>
                    <a:pt x="912" y="968"/>
                  </a:lnTo>
                  <a:close/>
                  <a:moveTo>
                    <a:pt x="763" y="1458"/>
                  </a:moveTo>
                  <a:lnTo>
                    <a:pt x="751" y="1517"/>
                  </a:lnTo>
                  <a:lnTo>
                    <a:pt x="740" y="1575"/>
                  </a:lnTo>
                  <a:lnTo>
                    <a:pt x="730" y="1632"/>
                  </a:lnTo>
                  <a:lnTo>
                    <a:pt x="721" y="1691"/>
                  </a:lnTo>
                  <a:lnTo>
                    <a:pt x="713" y="1750"/>
                  </a:lnTo>
                  <a:lnTo>
                    <a:pt x="707" y="1809"/>
                  </a:lnTo>
                  <a:lnTo>
                    <a:pt x="702" y="1867"/>
                  </a:lnTo>
                  <a:lnTo>
                    <a:pt x="700" y="1926"/>
                  </a:lnTo>
                  <a:lnTo>
                    <a:pt x="740" y="1937"/>
                  </a:lnTo>
                  <a:lnTo>
                    <a:pt x="782" y="1947"/>
                  </a:lnTo>
                  <a:lnTo>
                    <a:pt x="823" y="1955"/>
                  </a:lnTo>
                  <a:lnTo>
                    <a:pt x="866" y="1963"/>
                  </a:lnTo>
                  <a:lnTo>
                    <a:pt x="907" y="1971"/>
                  </a:lnTo>
                  <a:lnTo>
                    <a:pt x="950" y="1978"/>
                  </a:lnTo>
                  <a:lnTo>
                    <a:pt x="993" y="1984"/>
                  </a:lnTo>
                  <a:lnTo>
                    <a:pt x="1035" y="1988"/>
                  </a:lnTo>
                  <a:lnTo>
                    <a:pt x="1078" y="1993"/>
                  </a:lnTo>
                  <a:lnTo>
                    <a:pt x="1119" y="1996"/>
                  </a:lnTo>
                  <a:lnTo>
                    <a:pt x="1163" y="2000"/>
                  </a:lnTo>
                  <a:lnTo>
                    <a:pt x="1206" y="2002"/>
                  </a:lnTo>
                  <a:lnTo>
                    <a:pt x="1248" y="2005"/>
                  </a:lnTo>
                  <a:lnTo>
                    <a:pt x="1290" y="2006"/>
                  </a:lnTo>
                  <a:lnTo>
                    <a:pt x="1332" y="2007"/>
                  </a:lnTo>
                  <a:lnTo>
                    <a:pt x="1375" y="2007"/>
                  </a:lnTo>
                  <a:lnTo>
                    <a:pt x="1375" y="1539"/>
                  </a:lnTo>
                  <a:lnTo>
                    <a:pt x="1337" y="1539"/>
                  </a:lnTo>
                  <a:lnTo>
                    <a:pt x="1298" y="1538"/>
                  </a:lnTo>
                  <a:lnTo>
                    <a:pt x="1259" y="1537"/>
                  </a:lnTo>
                  <a:lnTo>
                    <a:pt x="1221" y="1534"/>
                  </a:lnTo>
                  <a:lnTo>
                    <a:pt x="1182" y="1531"/>
                  </a:lnTo>
                  <a:lnTo>
                    <a:pt x="1144" y="1528"/>
                  </a:lnTo>
                  <a:lnTo>
                    <a:pt x="1106" y="1524"/>
                  </a:lnTo>
                  <a:lnTo>
                    <a:pt x="1066" y="1518"/>
                  </a:lnTo>
                  <a:lnTo>
                    <a:pt x="1028" y="1514"/>
                  </a:lnTo>
                  <a:lnTo>
                    <a:pt x="990" y="1508"/>
                  </a:lnTo>
                  <a:lnTo>
                    <a:pt x="952" y="1501"/>
                  </a:lnTo>
                  <a:lnTo>
                    <a:pt x="914" y="1494"/>
                  </a:lnTo>
                  <a:lnTo>
                    <a:pt x="876" y="1486"/>
                  </a:lnTo>
                  <a:lnTo>
                    <a:pt x="838" y="1478"/>
                  </a:lnTo>
                  <a:lnTo>
                    <a:pt x="801" y="1469"/>
                  </a:lnTo>
                  <a:lnTo>
                    <a:pt x="763" y="1458"/>
                  </a:lnTo>
                  <a:close/>
                  <a:moveTo>
                    <a:pt x="699" y="1967"/>
                  </a:moveTo>
                  <a:lnTo>
                    <a:pt x="699" y="2016"/>
                  </a:lnTo>
                  <a:lnTo>
                    <a:pt x="700" y="2066"/>
                  </a:lnTo>
                  <a:lnTo>
                    <a:pt x="702" y="2115"/>
                  </a:lnTo>
                  <a:lnTo>
                    <a:pt x="708" y="2165"/>
                  </a:lnTo>
                  <a:lnTo>
                    <a:pt x="715" y="2214"/>
                  </a:lnTo>
                  <a:lnTo>
                    <a:pt x="724" y="2264"/>
                  </a:lnTo>
                  <a:lnTo>
                    <a:pt x="729" y="2288"/>
                  </a:lnTo>
                  <a:lnTo>
                    <a:pt x="736" y="2312"/>
                  </a:lnTo>
                  <a:lnTo>
                    <a:pt x="741" y="2335"/>
                  </a:lnTo>
                  <a:lnTo>
                    <a:pt x="750" y="2359"/>
                  </a:lnTo>
                  <a:lnTo>
                    <a:pt x="788" y="2370"/>
                  </a:lnTo>
                  <a:lnTo>
                    <a:pt x="826" y="2380"/>
                  </a:lnTo>
                  <a:lnTo>
                    <a:pt x="865" y="2389"/>
                  </a:lnTo>
                  <a:lnTo>
                    <a:pt x="903" y="2397"/>
                  </a:lnTo>
                  <a:lnTo>
                    <a:pt x="942" y="2405"/>
                  </a:lnTo>
                  <a:lnTo>
                    <a:pt x="981" y="2412"/>
                  </a:lnTo>
                  <a:lnTo>
                    <a:pt x="1020" y="2418"/>
                  </a:lnTo>
                  <a:lnTo>
                    <a:pt x="1059" y="2424"/>
                  </a:lnTo>
                  <a:lnTo>
                    <a:pt x="1099" y="2429"/>
                  </a:lnTo>
                  <a:lnTo>
                    <a:pt x="1138" y="2433"/>
                  </a:lnTo>
                  <a:lnTo>
                    <a:pt x="1178" y="2437"/>
                  </a:lnTo>
                  <a:lnTo>
                    <a:pt x="1217" y="2439"/>
                  </a:lnTo>
                  <a:lnTo>
                    <a:pt x="1256" y="2441"/>
                  </a:lnTo>
                  <a:lnTo>
                    <a:pt x="1297" y="2442"/>
                  </a:lnTo>
                  <a:lnTo>
                    <a:pt x="1336" y="2443"/>
                  </a:lnTo>
                  <a:lnTo>
                    <a:pt x="1375" y="2445"/>
                  </a:lnTo>
                  <a:lnTo>
                    <a:pt x="1375" y="2045"/>
                  </a:lnTo>
                  <a:lnTo>
                    <a:pt x="1332" y="2045"/>
                  </a:lnTo>
                  <a:lnTo>
                    <a:pt x="1290" y="2045"/>
                  </a:lnTo>
                  <a:lnTo>
                    <a:pt x="1247" y="2044"/>
                  </a:lnTo>
                  <a:lnTo>
                    <a:pt x="1205" y="2041"/>
                  </a:lnTo>
                  <a:lnTo>
                    <a:pt x="1162" y="2039"/>
                  </a:lnTo>
                  <a:lnTo>
                    <a:pt x="1119" y="2036"/>
                  </a:lnTo>
                  <a:lnTo>
                    <a:pt x="1077" y="2032"/>
                  </a:lnTo>
                  <a:lnTo>
                    <a:pt x="1034" y="2028"/>
                  </a:lnTo>
                  <a:lnTo>
                    <a:pt x="991" y="2023"/>
                  </a:lnTo>
                  <a:lnTo>
                    <a:pt x="950" y="2017"/>
                  </a:lnTo>
                  <a:lnTo>
                    <a:pt x="907" y="2010"/>
                  </a:lnTo>
                  <a:lnTo>
                    <a:pt x="865" y="2003"/>
                  </a:lnTo>
                  <a:lnTo>
                    <a:pt x="823" y="1995"/>
                  </a:lnTo>
                  <a:lnTo>
                    <a:pt x="782" y="1986"/>
                  </a:lnTo>
                  <a:lnTo>
                    <a:pt x="740" y="1977"/>
                  </a:lnTo>
                  <a:lnTo>
                    <a:pt x="699" y="1967"/>
                  </a:lnTo>
                  <a:close/>
                  <a:moveTo>
                    <a:pt x="767" y="2404"/>
                  </a:moveTo>
                  <a:lnTo>
                    <a:pt x="776" y="2426"/>
                  </a:lnTo>
                  <a:lnTo>
                    <a:pt x="785" y="2447"/>
                  </a:lnTo>
                  <a:lnTo>
                    <a:pt x="796" y="2468"/>
                  </a:lnTo>
                  <a:lnTo>
                    <a:pt x="807" y="2487"/>
                  </a:lnTo>
                  <a:lnTo>
                    <a:pt x="820" y="2507"/>
                  </a:lnTo>
                  <a:lnTo>
                    <a:pt x="832" y="2525"/>
                  </a:lnTo>
                  <a:lnTo>
                    <a:pt x="847" y="2544"/>
                  </a:lnTo>
                  <a:lnTo>
                    <a:pt x="862" y="2562"/>
                  </a:lnTo>
                  <a:lnTo>
                    <a:pt x="892" y="2574"/>
                  </a:lnTo>
                  <a:lnTo>
                    <a:pt x="923" y="2584"/>
                  </a:lnTo>
                  <a:lnTo>
                    <a:pt x="955" y="2594"/>
                  </a:lnTo>
                  <a:lnTo>
                    <a:pt x="987" y="2605"/>
                  </a:lnTo>
                  <a:lnTo>
                    <a:pt x="1018" y="2613"/>
                  </a:lnTo>
                  <a:lnTo>
                    <a:pt x="1050" y="2622"/>
                  </a:lnTo>
                  <a:lnTo>
                    <a:pt x="1081" y="2629"/>
                  </a:lnTo>
                  <a:lnTo>
                    <a:pt x="1114" y="2636"/>
                  </a:lnTo>
                  <a:lnTo>
                    <a:pt x="1146" y="2642"/>
                  </a:lnTo>
                  <a:lnTo>
                    <a:pt x="1179" y="2647"/>
                  </a:lnTo>
                  <a:lnTo>
                    <a:pt x="1211" y="2652"/>
                  </a:lnTo>
                  <a:lnTo>
                    <a:pt x="1244" y="2655"/>
                  </a:lnTo>
                  <a:lnTo>
                    <a:pt x="1277" y="2659"/>
                  </a:lnTo>
                  <a:lnTo>
                    <a:pt x="1309" y="2661"/>
                  </a:lnTo>
                  <a:lnTo>
                    <a:pt x="1343" y="2662"/>
                  </a:lnTo>
                  <a:lnTo>
                    <a:pt x="1375" y="2664"/>
                  </a:lnTo>
                  <a:lnTo>
                    <a:pt x="1375" y="2483"/>
                  </a:lnTo>
                  <a:lnTo>
                    <a:pt x="1299" y="2482"/>
                  </a:lnTo>
                  <a:lnTo>
                    <a:pt x="1222" y="2478"/>
                  </a:lnTo>
                  <a:lnTo>
                    <a:pt x="1183" y="2476"/>
                  </a:lnTo>
                  <a:lnTo>
                    <a:pt x="1145" y="2472"/>
                  </a:lnTo>
                  <a:lnTo>
                    <a:pt x="1107" y="2469"/>
                  </a:lnTo>
                  <a:lnTo>
                    <a:pt x="1069" y="2464"/>
                  </a:lnTo>
                  <a:lnTo>
                    <a:pt x="1029" y="2460"/>
                  </a:lnTo>
                  <a:lnTo>
                    <a:pt x="991" y="2454"/>
                  </a:lnTo>
                  <a:lnTo>
                    <a:pt x="953" y="2447"/>
                  </a:lnTo>
                  <a:lnTo>
                    <a:pt x="917" y="2440"/>
                  </a:lnTo>
                  <a:lnTo>
                    <a:pt x="879" y="2432"/>
                  </a:lnTo>
                  <a:lnTo>
                    <a:pt x="841" y="2424"/>
                  </a:lnTo>
                  <a:lnTo>
                    <a:pt x="804" y="2415"/>
                  </a:lnTo>
                  <a:lnTo>
                    <a:pt x="767" y="2404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TextBox 15"/>
            <p:cNvSpPr txBox="1"/>
            <p:nvPr>
              <p:custDataLst>
                <p:tags r:id="rId4"/>
              </p:custDataLst>
            </p:nvPr>
          </p:nvSpPr>
          <p:spPr>
            <a:xfrm>
              <a:off x="2454533" y="4927004"/>
              <a:ext cx="1076207" cy="15388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en-US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www.mslee.co.kr</a:t>
              </a:r>
              <a:endParaRPr 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pic>
        <p:nvPicPr>
          <p:cNvPr id="4" name="그림 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3479" y="2234747"/>
            <a:ext cx="711260" cy="704377"/>
          </a:xfrm>
          <a:prstGeom prst="rect">
            <a:avLst/>
          </a:prstGeom>
        </p:spPr>
      </p:pic>
      <p:pic>
        <p:nvPicPr>
          <p:cNvPr id="9" name="그림 8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4908" y="1263761"/>
            <a:ext cx="765724" cy="738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8863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831925" y="476672"/>
            <a:ext cx="7719175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altLang="ko-KR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『</a:t>
            </a:r>
            <a:r>
              <a:rPr lang="ko-KR" altLang="en-US" sz="23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兩기관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보유</a:t>
            </a:r>
            <a:r>
              <a:rPr lang="en-US" altLang="ko-KR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Big Data 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공개와 협조체계 구축</a:t>
            </a:r>
            <a:r>
              <a:rPr lang="en-US" altLang="ko-KR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』 </a:t>
            </a:r>
            <a:r>
              <a:rPr lang="ko-KR" altLang="en-US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sz="23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56351" y="1228620"/>
            <a:ext cx="8470324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건보공단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개인건강기록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적정투약관리 정보 등    </a:t>
            </a:r>
            <a:r>
              <a:rPr lang="ko-KR" altLang="en-US" sz="1600" b="1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빅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데이터 정보공개 확대</a:t>
            </a:r>
            <a:endParaRPr lang="en-US" altLang="ko-KR" sz="1600" b="1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심평원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30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여종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약 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200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억 건 </a:t>
            </a:r>
            <a:r>
              <a:rPr lang="ko-KR" altLang="en-US" sz="16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빅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데이터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공개 추진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의료정보산업지원센터 개원</a:t>
            </a:r>
            <a:r>
              <a:rPr lang="en-US" altLang="ko-KR" sz="11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2014.3)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·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 ①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개인 건강정보 활용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공개 관련 → 중복투자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경쟁적 추진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법적 근거 없이 </a:t>
            </a:r>
            <a:r>
              <a:rPr lang="ko-KR" altLang="en-US" sz="140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先시행도</a:t>
            </a:r>
            <a:endParaRPr lang="en-US" altLang="ko-KR" sz="14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·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 ②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유사사업 중복경쟁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비협조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→ 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「국민 건강주의 </a:t>
            </a:r>
            <a:r>
              <a:rPr lang="ko-KR" altLang="en-US" sz="1400" spc="-15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알림서비스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」 對 「질병예측 </a:t>
            </a:r>
            <a:r>
              <a:rPr lang="ko-KR" altLang="en-US" sz="1400" spc="-15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알림서비스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」</a:t>
            </a:r>
            <a:endParaRPr lang="en-US" altLang="ko-KR" sz="1400" spc="-15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「국민건강주의 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알림서비스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」와 「질병예측 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알림서비스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」 비교</a:t>
            </a:r>
            <a:endParaRPr lang="ko-KR" altLang="en-US" sz="1600" b="1" dirty="0">
              <a:solidFill>
                <a:srgbClr val="C00000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707706" y="6019327"/>
            <a:ext cx="827370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법적 근거 마련하고</a:t>
            </a:r>
            <a:r>
              <a:rPr lang="en-US" altLang="ko-KR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정보공개 「</a:t>
            </a:r>
            <a:r>
              <a:rPr lang="ko-KR" altLang="en-US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양적확대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보다 「질적 서비스 향상」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에 집중</a:t>
            </a:r>
            <a:endParaRPr lang="ko-KR" alt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3" name="오른쪽 화살표 22"/>
          <p:cNvSpPr/>
          <p:nvPr/>
        </p:nvSpPr>
        <p:spPr>
          <a:xfrm>
            <a:off x="5393804" y="140046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오른쪽 화살표 23"/>
          <p:cNvSpPr/>
          <p:nvPr/>
        </p:nvSpPr>
        <p:spPr>
          <a:xfrm>
            <a:off x="5292080" y="177826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오른쪽 화살표 25"/>
          <p:cNvSpPr/>
          <p:nvPr/>
        </p:nvSpPr>
        <p:spPr>
          <a:xfrm>
            <a:off x="267269" y="6117249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3" name="표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8012766"/>
              </p:ext>
            </p:extLst>
          </p:nvPr>
        </p:nvGraphicFramePr>
        <p:xfrm>
          <a:off x="588455" y="3356992"/>
          <a:ext cx="8206116" cy="251460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3B4B98B0-60AC-42C2-AFA5-B58CD77FA1E5}</a:tableStyleId>
              </a:tblPr>
              <a:tblGrid>
                <a:gridCol w="2342028"/>
                <a:gridCol w="5864088"/>
              </a:tblGrid>
              <a:tr h="37084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50000"/>
                        </a:lnSpc>
                      </a:pPr>
                      <a:r>
                        <a:rPr lang="ko-KR" altLang="en-US" sz="1400" dirty="0" err="1" smtClean="0">
                          <a:latin typeface="+mn-ea"/>
                          <a:ea typeface="+mn-ea"/>
                        </a:rPr>
                        <a:t>기관명</a:t>
                      </a:r>
                      <a:endParaRPr lang="ko-KR" altLang="en-US" sz="1400" b="0" dirty="0">
                        <a:latin typeface="+mn-ea"/>
                        <a:ea typeface="+mn-ea"/>
                      </a:endParaRPr>
                    </a:p>
                  </a:txBody>
                  <a:tcPr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50000"/>
                        </a:lnSpc>
                      </a:pPr>
                      <a:r>
                        <a:rPr lang="ko-KR" altLang="en-US" sz="1400" b="1" dirty="0" smtClean="0">
                          <a:latin typeface="+mn-ea"/>
                          <a:ea typeface="+mn-ea"/>
                        </a:rPr>
                        <a:t>서비스 내용</a:t>
                      </a:r>
                      <a:endParaRPr lang="ko-KR" altLang="en-US" sz="1400" b="1" dirty="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50000"/>
                        </a:lnSpc>
                      </a:pPr>
                      <a:r>
                        <a:rPr lang="ko-KR" altLang="en-US" sz="1400" b="1" dirty="0" smtClean="0">
                          <a:latin typeface="+mn-ea"/>
                          <a:ea typeface="+mn-ea"/>
                        </a:rPr>
                        <a:t>건강보험공단</a:t>
                      </a:r>
                      <a:endParaRPr lang="en-US" altLang="ko-KR" sz="1400" b="1" dirty="0" smtClean="0">
                        <a:latin typeface="+mn-ea"/>
                        <a:ea typeface="+mn-ea"/>
                      </a:endParaRPr>
                    </a:p>
                    <a:p>
                      <a:pPr algn="ctr" latinLnBrk="1">
                        <a:lnSpc>
                          <a:spcPct val="150000"/>
                        </a:lnSpc>
                      </a:pPr>
                      <a:r>
                        <a:rPr lang="ko-KR" altLang="en-US" sz="1400" b="0" dirty="0" smtClean="0">
                          <a:latin typeface="+mn-ea"/>
                          <a:ea typeface="+mn-ea"/>
                        </a:rPr>
                        <a:t>국민건강 주의 </a:t>
                      </a:r>
                      <a:endParaRPr lang="en-US" altLang="ko-KR" sz="1400" b="0" dirty="0" smtClean="0">
                        <a:latin typeface="+mn-ea"/>
                        <a:ea typeface="+mn-ea"/>
                      </a:endParaRPr>
                    </a:p>
                    <a:p>
                      <a:pPr algn="ctr" latinLnBrk="1">
                        <a:lnSpc>
                          <a:spcPct val="150000"/>
                        </a:lnSpc>
                      </a:pPr>
                      <a:r>
                        <a:rPr lang="ko-KR" altLang="en-US" sz="1400" b="0" dirty="0" smtClean="0">
                          <a:latin typeface="+mn-ea"/>
                          <a:ea typeface="+mn-ea"/>
                        </a:rPr>
                        <a:t>알림 서비스</a:t>
                      </a:r>
                      <a:endParaRPr lang="ko-KR" altLang="en-US" sz="1400" b="0" dirty="0">
                        <a:latin typeface="+mn-ea"/>
                        <a:ea typeface="+mn-ea"/>
                      </a:endParaRPr>
                    </a:p>
                  </a:txBody>
                  <a:tcPr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50000"/>
                        </a:lnSpc>
                      </a:pPr>
                      <a:r>
                        <a:rPr lang="ko-KR" altLang="en-US" sz="1400" b="0" dirty="0" smtClean="0">
                          <a:latin typeface="+mn-ea"/>
                          <a:ea typeface="+mn-ea"/>
                        </a:rPr>
                        <a:t>건강보험가입자의 진료정보와 </a:t>
                      </a:r>
                      <a:r>
                        <a:rPr lang="ko-KR" altLang="en-US" sz="1400" b="0" dirty="0" err="1" smtClean="0">
                          <a:latin typeface="+mn-ea"/>
                          <a:ea typeface="+mn-ea"/>
                        </a:rPr>
                        <a:t>소셜미디어</a:t>
                      </a:r>
                      <a:r>
                        <a:rPr lang="en-US" altLang="ko-KR" sz="1400" b="0" dirty="0" smtClean="0">
                          <a:latin typeface="+mn-ea"/>
                          <a:ea typeface="+mn-ea"/>
                        </a:rPr>
                        <a:t>(SNS)</a:t>
                      </a:r>
                      <a:r>
                        <a:rPr lang="ko-KR" altLang="en-US" sz="1400" b="0" dirty="0" smtClean="0">
                          <a:latin typeface="+mn-ea"/>
                          <a:ea typeface="+mn-ea"/>
                        </a:rPr>
                        <a:t>의 </a:t>
                      </a:r>
                      <a:r>
                        <a:rPr lang="ko-KR" altLang="en-US" sz="1400" b="0" dirty="0" err="1" smtClean="0">
                          <a:latin typeface="+mn-ea"/>
                          <a:ea typeface="+mn-ea"/>
                        </a:rPr>
                        <a:t>트윗정보를</a:t>
                      </a:r>
                      <a:r>
                        <a:rPr lang="ko-KR" altLang="en-US" sz="1400" b="0" dirty="0" smtClean="0">
                          <a:latin typeface="+mn-ea"/>
                          <a:ea typeface="+mn-ea"/>
                        </a:rPr>
                        <a:t> 융합</a:t>
                      </a:r>
                      <a:r>
                        <a:rPr lang="en-US" altLang="ko-KR" sz="1400" b="0" dirty="0" smtClean="0"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1400" b="0" dirty="0" smtClean="0">
                          <a:latin typeface="+mn-ea"/>
                          <a:ea typeface="+mn-ea"/>
                        </a:rPr>
                        <a:t>분석하여 질병의 발생을 사전 예측하여 </a:t>
                      </a:r>
                      <a:r>
                        <a:rPr lang="ko-KR" altLang="en-US" sz="1400" b="0" dirty="0" err="1" smtClean="0">
                          <a:latin typeface="+mn-ea"/>
                          <a:ea typeface="+mn-ea"/>
                        </a:rPr>
                        <a:t>알람과</a:t>
                      </a:r>
                      <a:r>
                        <a:rPr lang="ko-KR" altLang="en-US" sz="1400" b="0" dirty="0" smtClean="0">
                          <a:latin typeface="+mn-ea"/>
                          <a:ea typeface="+mn-ea"/>
                        </a:rPr>
                        <a:t> 건강정보를 제공하는 서비스 실시</a:t>
                      </a:r>
                      <a:endParaRPr lang="ko-KR" altLang="en-US" sz="1400" b="0" dirty="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50000"/>
                        </a:lnSpc>
                      </a:pPr>
                      <a:r>
                        <a:rPr lang="ko-KR" altLang="en-US" sz="1400" b="1" dirty="0" err="1" smtClean="0">
                          <a:latin typeface="+mn-ea"/>
                          <a:ea typeface="+mn-ea"/>
                        </a:rPr>
                        <a:t>건강보험시삼평가원</a:t>
                      </a:r>
                      <a:endParaRPr lang="en-US" altLang="ko-KR" sz="1400" b="1" dirty="0" smtClean="0">
                        <a:latin typeface="+mn-ea"/>
                        <a:ea typeface="+mn-ea"/>
                      </a:endParaRPr>
                    </a:p>
                    <a:p>
                      <a:pPr algn="ctr" latinLnBrk="1">
                        <a:lnSpc>
                          <a:spcPct val="150000"/>
                        </a:lnSpc>
                      </a:pPr>
                      <a:r>
                        <a:rPr lang="ko-KR" altLang="en-US" sz="1400" b="0" dirty="0" smtClean="0">
                          <a:latin typeface="+mn-ea"/>
                          <a:ea typeface="+mn-ea"/>
                        </a:rPr>
                        <a:t>질병 예측</a:t>
                      </a:r>
                      <a:endParaRPr lang="en-US" altLang="ko-KR" sz="1400" b="0" dirty="0" smtClean="0">
                        <a:latin typeface="+mn-ea"/>
                        <a:ea typeface="+mn-ea"/>
                      </a:endParaRPr>
                    </a:p>
                    <a:p>
                      <a:pPr algn="ctr" latinLnBrk="1">
                        <a:lnSpc>
                          <a:spcPct val="150000"/>
                        </a:lnSpc>
                      </a:pPr>
                      <a:r>
                        <a:rPr lang="ko-KR" altLang="en-US" sz="1400" b="0" dirty="0" smtClean="0">
                          <a:latin typeface="+mn-ea"/>
                          <a:ea typeface="+mn-ea"/>
                        </a:rPr>
                        <a:t>알림 서비스</a:t>
                      </a:r>
                      <a:endParaRPr lang="ko-KR" altLang="en-US" sz="1400" b="0" dirty="0">
                        <a:latin typeface="+mn-ea"/>
                        <a:ea typeface="+mn-ea"/>
                      </a:endParaRPr>
                    </a:p>
                  </a:txBody>
                  <a:tcPr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50000"/>
                        </a:lnSpc>
                      </a:pPr>
                      <a:r>
                        <a:rPr lang="ko-KR" altLang="en-US" sz="1400" b="0" dirty="0" smtClean="0">
                          <a:latin typeface="+mn-ea"/>
                          <a:ea typeface="+mn-ea"/>
                        </a:rPr>
                        <a:t>과거 </a:t>
                      </a:r>
                      <a:r>
                        <a:rPr lang="en-US" altLang="ko-KR" sz="1400" b="0" dirty="0" smtClean="0">
                          <a:latin typeface="+mn-ea"/>
                          <a:ea typeface="+mn-ea"/>
                        </a:rPr>
                        <a:t>5</a:t>
                      </a:r>
                      <a:r>
                        <a:rPr lang="ko-KR" altLang="en-US" sz="1400" b="0" dirty="0" smtClean="0">
                          <a:latin typeface="+mn-ea"/>
                          <a:ea typeface="+mn-ea"/>
                        </a:rPr>
                        <a:t>년 간의 건강보험 청구자료를 기상청 날씨정보와 연계해 과거 통계 기준으로 질병과의 상관관계를 분석해 대표적인 계절성 질환의 위험도를 예보하는 서비스를 구상 중에 있음</a:t>
                      </a:r>
                      <a:endParaRPr lang="ko-KR" altLang="en-US" sz="1400" b="0" dirty="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</a:tbl>
          </a:graphicData>
        </a:graphic>
      </p:graphicFrame>
      <p:pic>
        <p:nvPicPr>
          <p:cNvPr id="27" name="그림 2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402" y="4943506"/>
            <a:ext cx="267142" cy="257486"/>
          </a:xfrm>
          <a:prstGeom prst="rect">
            <a:avLst/>
          </a:prstGeom>
        </p:spPr>
      </p:pic>
      <p:pic>
        <p:nvPicPr>
          <p:cNvPr id="28" name="그림 2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050" y="3884476"/>
            <a:ext cx="227331" cy="225131"/>
          </a:xfrm>
          <a:prstGeom prst="rect">
            <a:avLst/>
          </a:prstGeom>
        </p:spPr>
      </p:pic>
      <p:pic>
        <p:nvPicPr>
          <p:cNvPr id="31" name="그림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3104" y="116632"/>
            <a:ext cx="267142" cy="257486"/>
          </a:xfrm>
          <a:prstGeom prst="rect">
            <a:avLst/>
          </a:prstGeom>
        </p:spPr>
      </p:pic>
      <p:pic>
        <p:nvPicPr>
          <p:cNvPr id="32" name="그림 3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9078" y="116632"/>
            <a:ext cx="260002" cy="257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9614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829081" y="563767"/>
            <a:ext cx="7719175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미래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재정건전성 악화 예상 대비책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마련</a:t>
            </a:r>
            <a:endParaRPr lang="en-US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91901" y="1228620"/>
            <a:ext cx="866384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4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대 중증질환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3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대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비급여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등 중장기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보장성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확대 지속</a:t>
            </a:r>
            <a:r>
              <a:rPr lang="ko-KR" altLang="en-US" sz="16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향후 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4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간 약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5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조원 추가 재원 필요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현재 건강보험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재정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현황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6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조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4697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억 원 적자 예상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이후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매년 </a:t>
            </a:r>
            <a:r>
              <a:rPr lang="ko-KR" altLang="en-US" sz="1600" b="1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수조원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적자 예측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적립금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올해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23.4%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에서‘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18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8.9%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로 지속 감소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누적적립금 활용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단기처방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건강한 보험재정 위한 「지원금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」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법적 </a:t>
            </a:r>
            <a:r>
              <a:rPr lang="ko-KR" altLang="en-US" sz="1600" b="1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부담율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20%),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지난 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4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간 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3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∼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5%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부족 지원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6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조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3,333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억 원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729912" y="5635284"/>
            <a:ext cx="817262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 단기 자구책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건강보험 수익</a:t>
            </a:r>
            <a:r>
              <a:rPr lang="ko-KR" altLang="en-US" sz="20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의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적</a:t>
            </a:r>
            <a:r>
              <a:rPr lang="ko-KR" altLang="en-US" sz="20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절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한 사용 </a:t>
            </a:r>
            <a:r>
              <a:rPr lang="ko-KR" altLang="en-US" sz="20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등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다각적 노력</a:t>
            </a:r>
            <a:endParaRPr lang="en-US" altLang="ko-KR" sz="20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보험급여 수요확대 조절」</a:t>
            </a:r>
            <a:r>
              <a:rPr lang="en-US" altLang="ko-KR" sz="20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「보험료 부과체계 개선」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등 적극 대</a:t>
            </a:r>
            <a:r>
              <a:rPr lang="ko-KR" altLang="en-US" sz="2000" dirty="0">
                <a:latin typeface="HY견고딕" panose="02030600000101010101" pitchFamily="18" charset="-127"/>
                <a:ea typeface="HY견고딕" panose="02030600000101010101" pitchFamily="18" charset="-127"/>
              </a:rPr>
              <a:t>응</a:t>
            </a:r>
          </a:p>
        </p:txBody>
      </p:sp>
      <p:sp>
        <p:nvSpPr>
          <p:cNvPr id="23" name="오른쪽 화살표 22"/>
          <p:cNvSpPr/>
          <p:nvPr/>
        </p:nvSpPr>
        <p:spPr>
          <a:xfrm>
            <a:off x="5460538" y="141161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오른쪽 화살표 23"/>
          <p:cNvSpPr/>
          <p:nvPr/>
        </p:nvSpPr>
        <p:spPr>
          <a:xfrm>
            <a:off x="5855312" y="177281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오른쪽 화살표 25"/>
          <p:cNvSpPr/>
          <p:nvPr/>
        </p:nvSpPr>
        <p:spPr>
          <a:xfrm>
            <a:off x="376516" y="5779061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1824" y="132907"/>
            <a:ext cx="966277" cy="388658"/>
          </a:xfrm>
          <a:prstGeom prst="rect">
            <a:avLst/>
          </a:prstGeom>
        </p:spPr>
      </p:pic>
      <p:sp>
        <p:nvSpPr>
          <p:cNvPr id="25" name="오른쪽 화살표 24"/>
          <p:cNvSpPr/>
          <p:nvPr/>
        </p:nvSpPr>
        <p:spPr>
          <a:xfrm>
            <a:off x="3610845" y="249553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9" name="오른쪽 화살표 28"/>
          <p:cNvSpPr/>
          <p:nvPr/>
        </p:nvSpPr>
        <p:spPr>
          <a:xfrm>
            <a:off x="5460538" y="213300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27" name="그룹 26"/>
          <p:cNvGrpSpPr/>
          <p:nvPr/>
        </p:nvGrpSpPr>
        <p:grpSpPr>
          <a:xfrm>
            <a:off x="-8274" y="-81403"/>
            <a:ext cx="1120288" cy="1236229"/>
            <a:chOff x="-8274" y="-81403"/>
            <a:chExt cx="1120288" cy="1236229"/>
          </a:xfrm>
        </p:grpSpPr>
        <p:grpSp>
          <p:nvGrpSpPr>
            <p:cNvPr id="28" name="Group 50"/>
            <p:cNvGrpSpPr/>
            <p:nvPr/>
          </p:nvGrpSpPr>
          <p:grpSpPr>
            <a:xfrm>
              <a:off x="-1122" y="-81403"/>
              <a:ext cx="1113136" cy="1236229"/>
              <a:chOff x="-9097" y="-96310"/>
              <a:chExt cx="974935" cy="1025474"/>
            </a:xfrm>
          </p:grpSpPr>
          <p:sp>
            <p:nvSpPr>
              <p:cNvPr id="31" name="Diagonal Stripe 51"/>
              <p:cNvSpPr/>
              <p:nvPr/>
            </p:nvSpPr>
            <p:spPr>
              <a:xfrm>
                <a:off x="-7091" y="-23336"/>
                <a:ext cx="972929" cy="952500"/>
              </a:xfrm>
              <a:prstGeom prst="diagStripe">
                <a:avLst>
                  <a:gd name="adj" fmla="val 61073"/>
                </a:avLst>
              </a:pr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3400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12700" dir="5400000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2" name="TextBox 31"/>
              <p:cNvSpPr txBox="1"/>
              <p:nvPr/>
            </p:nvSpPr>
            <p:spPr>
              <a:xfrm rot="18886281">
                <a:off x="58852" y="187690"/>
                <a:ext cx="770174" cy="2021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7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국회의원</a:t>
                </a:r>
                <a:r>
                  <a:rPr lang="ko-KR" altLang="en-US" sz="9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 이명수</a:t>
                </a:r>
                <a:endParaRPr lang="en-US" sz="900" dirty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endParaRPr>
              </a:p>
            </p:txBody>
          </p:sp>
          <p:cxnSp>
            <p:nvCxnSpPr>
              <p:cNvPr id="33" name="Straight Connector 53"/>
              <p:cNvCxnSpPr/>
              <p:nvPr/>
            </p:nvCxnSpPr>
            <p:spPr>
              <a:xfrm flipH="1">
                <a:off x="-9097" y="-22860"/>
                <a:ext cx="623270" cy="623272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54"/>
              <p:cNvCxnSpPr/>
              <p:nvPr/>
            </p:nvCxnSpPr>
            <p:spPr>
              <a:xfrm flipH="1">
                <a:off x="-7091" y="-22860"/>
                <a:ext cx="921493" cy="893213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0" name="그림 29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66808">
              <a:off x="-8274" y="724510"/>
              <a:ext cx="252257" cy="120873"/>
            </a:xfrm>
            <a:prstGeom prst="rect">
              <a:avLst/>
            </a:prstGeom>
          </p:spPr>
        </p:pic>
      </p:grpSp>
      <p:sp>
        <p:nvSpPr>
          <p:cNvPr id="3" name="TextBox 2"/>
          <p:cNvSpPr txBox="1"/>
          <p:nvPr/>
        </p:nvSpPr>
        <p:spPr>
          <a:xfrm>
            <a:off x="427195" y="2923456"/>
            <a:ext cx="33369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건강보험 재정변화 예상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재무보고자료</a:t>
            </a:r>
            <a:endParaRPr lang="ko-KR" altLang="en-US" sz="14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aphicFrame>
        <p:nvGraphicFramePr>
          <p:cNvPr id="4" name="표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8195406"/>
              </p:ext>
            </p:extLst>
          </p:nvPr>
        </p:nvGraphicFramePr>
        <p:xfrm>
          <a:off x="527227" y="3284984"/>
          <a:ext cx="8280918" cy="2016222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69CF1AB2-1976-4502-BF36-3FF5EA218861}</a:tableStyleId>
              </a:tblPr>
              <a:tblGrid>
                <a:gridCol w="1855298"/>
                <a:gridCol w="1285124"/>
                <a:gridCol w="1285124"/>
                <a:gridCol w="1285124"/>
                <a:gridCol w="1285124"/>
                <a:gridCol w="1285124"/>
              </a:tblGrid>
              <a:tr h="336037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kern="0" spc="0" dirty="0">
                          <a:effectLst/>
                        </a:rPr>
                        <a:t>구 분</a:t>
                      </a:r>
                      <a:endParaRPr lang="ko-KR" altLang="en-US" sz="1400" b="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>
                          <a:effectLst/>
                        </a:rPr>
                        <a:t>2014</a:t>
                      </a:r>
                      <a:endParaRPr lang="en-US" sz="1400" b="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>
                          <a:effectLst/>
                        </a:rPr>
                        <a:t>2015</a:t>
                      </a:r>
                      <a:endParaRPr lang="en-US" sz="1400" b="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0" spc="0" dirty="0">
                          <a:solidFill>
                            <a:srgbClr val="C00000"/>
                          </a:solidFill>
                          <a:effectLst/>
                        </a:rPr>
                        <a:t>2016</a:t>
                      </a:r>
                      <a:endParaRPr lang="en-US" sz="1400" b="1" kern="0" spc="0" dirty="0">
                        <a:solidFill>
                          <a:srgbClr val="C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0" spc="0" dirty="0">
                          <a:solidFill>
                            <a:srgbClr val="C00000"/>
                          </a:solidFill>
                          <a:effectLst/>
                        </a:rPr>
                        <a:t>2017</a:t>
                      </a:r>
                      <a:endParaRPr lang="en-US" sz="1400" b="1" kern="0" spc="0" dirty="0">
                        <a:solidFill>
                          <a:srgbClr val="C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0" spc="0" dirty="0">
                          <a:solidFill>
                            <a:srgbClr val="C00000"/>
                          </a:solidFill>
                          <a:effectLst/>
                        </a:rPr>
                        <a:t>2018</a:t>
                      </a:r>
                      <a:endParaRPr lang="en-US" sz="1400" b="1" kern="0" spc="0" dirty="0">
                        <a:solidFill>
                          <a:srgbClr val="C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</a:tr>
              <a:tr h="336037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kern="0" spc="0" dirty="0">
                          <a:effectLst/>
                        </a:rPr>
                        <a:t>총 수 입</a:t>
                      </a:r>
                      <a:endParaRPr lang="ko-KR" altLang="en-US" sz="1400" b="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50800" indent="0" algn="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 dirty="0">
                          <a:effectLst/>
                        </a:rPr>
                        <a:t>483,489</a:t>
                      </a:r>
                      <a:endParaRPr lang="en-US" sz="1400" b="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50800" indent="0" algn="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>
                          <a:effectLst/>
                        </a:rPr>
                        <a:t>518,322</a:t>
                      </a:r>
                      <a:endParaRPr lang="en-US" sz="1400" b="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50800" indent="0" algn="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>
                          <a:effectLst/>
                        </a:rPr>
                        <a:t>556,271</a:t>
                      </a:r>
                      <a:endParaRPr lang="en-US" sz="1400" b="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50800" indent="0" algn="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>
                          <a:effectLst/>
                        </a:rPr>
                        <a:t>598,196</a:t>
                      </a:r>
                      <a:endParaRPr lang="en-US" sz="1400" b="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50800" indent="0" algn="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>
                          <a:effectLst/>
                        </a:rPr>
                        <a:t>643,146</a:t>
                      </a:r>
                      <a:endParaRPr lang="en-US" sz="1400" b="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noFill/>
                  </a:tcPr>
                </a:tc>
              </a:tr>
              <a:tr h="336037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kern="0" spc="0" dirty="0">
                          <a:effectLst/>
                        </a:rPr>
                        <a:t>총 지 출</a:t>
                      </a:r>
                      <a:r>
                        <a:rPr lang="en-US" altLang="ko-KR" sz="1400" kern="0" spc="0" dirty="0">
                          <a:effectLst/>
                        </a:rPr>
                        <a:t>(</a:t>
                      </a:r>
                      <a:r>
                        <a:rPr lang="en-US" sz="1400" kern="0" spc="0" dirty="0">
                          <a:effectLst/>
                        </a:rPr>
                        <a:t>A)</a:t>
                      </a:r>
                      <a:endParaRPr lang="en-US" sz="1400" b="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50800" indent="0" algn="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 dirty="0">
                          <a:effectLst/>
                        </a:rPr>
                        <a:t>458,265</a:t>
                      </a:r>
                      <a:endParaRPr lang="en-US" sz="1400" b="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50800" indent="0" algn="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>
                          <a:effectLst/>
                        </a:rPr>
                        <a:t>517,001</a:t>
                      </a:r>
                      <a:endParaRPr lang="en-US" sz="1400" b="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50800" indent="0" algn="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>
                          <a:effectLst/>
                        </a:rPr>
                        <a:t>570,968</a:t>
                      </a:r>
                      <a:endParaRPr lang="en-US" sz="1400" b="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50800" indent="0" algn="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>
                          <a:effectLst/>
                        </a:rPr>
                        <a:t>613,880</a:t>
                      </a:r>
                      <a:endParaRPr lang="en-US" sz="1400" b="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50800" indent="0" algn="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>
                          <a:effectLst/>
                        </a:rPr>
                        <a:t>662,652</a:t>
                      </a:r>
                      <a:endParaRPr lang="en-US" sz="1400" b="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noFill/>
                  </a:tcPr>
                </a:tc>
              </a:tr>
              <a:tr h="336037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kern="0" spc="0" dirty="0" err="1">
                          <a:effectLst/>
                        </a:rPr>
                        <a:t>당기수지</a:t>
                      </a:r>
                      <a:endParaRPr lang="ko-KR" altLang="en-US" sz="1400" b="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50800" indent="0" algn="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 dirty="0">
                          <a:effectLst/>
                        </a:rPr>
                        <a:t>25,224</a:t>
                      </a:r>
                      <a:endParaRPr lang="en-US" sz="1400" b="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50800" indent="0" algn="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>
                          <a:effectLst/>
                        </a:rPr>
                        <a:t>1,321</a:t>
                      </a:r>
                      <a:endParaRPr lang="en-US" sz="1400" b="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50800" indent="0" algn="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b="1" kern="0" spc="0" dirty="0">
                          <a:solidFill>
                            <a:srgbClr val="C00000"/>
                          </a:solidFill>
                          <a:effectLst/>
                        </a:rPr>
                        <a:t>△</a:t>
                      </a:r>
                      <a:r>
                        <a:rPr lang="en-US" altLang="ko-KR" sz="1400" b="1" kern="0" spc="0" dirty="0">
                          <a:solidFill>
                            <a:srgbClr val="C00000"/>
                          </a:solidFill>
                          <a:effectLst/>
                        </a:rPr>
                        <a:t>14,697</a:t>
                      </a:r>
                      <a:endParaRPr lang="ko-KR" altLang="en-US" sz="1400" b="1" kern="0" spc="0" dirty="0">
                        <a:solidFill>
                          <a:srgbClr val="C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50800" indent="0" algn="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b="1" kern="0" spc="0" dirty="0">
                          <a:solidFill>
                            <a:srgbClr val="C00000"/>
                          </a:solidFill>
                          <a:effectLst/>
                        </a:rPr>
                        <a:t>△</a:t>
                      </a:r>
                      <a:r>
                        <a:rPr lang="en-US" altLang="ko-KR" sz="1400" b="1" kern="0" spc="0" dirty="0">
                          <a:solidFill>
                            <a:srgbClr val="C00000"/>
                          </a:solidFill>
                          <a:effectLst/>
                        </a:rPr>
                        <a:t>15,684</a:t>
                      </a:r>
                      <a:endParaRPr lang="ko-KR" altLang="en-US" sz="1400" b="1" kern="0" spc="0" dirty="0">
                        <a:solidFill>
                          <a:srgbClr val="C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50800" indent="0" algn="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b="1" kern="0" spc="0" dirty="0">
                          <a:solidFill>
                            <a:srgbClr val="C00000"/>
                          </a:solidFill>
                          <a:effectLst/>
                        </a:rPr>
                        <a:t>△</a:t>
                      </a:r>
                      <a:r>
                        <a:rPr lang="en-US" altLang="ko-KR" sz="1400" b="1" kern="0" spc="0" dirty="0">
                          <a:solidFill>
                            <a:srgbClr val="C00000"/>
                          </a:solidFill>
                          <a:effectLst/>
                        </a:rPr>
                        <a:t>19,506</a:t>
                      </a:r>
                      <a:endParaRPr lang="ko-KR" altLang="en-US" sz="1400" b="1" kern="0" spc="0" dirty="0">
                        <a:solidFill>
                          <a:srgbClr val="C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noFill/>
                  </a:tcPr>
                </a:tc>
              </a:tr>
              <a:tr h="336037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kern="0" spc="0" dirty="0">
                          <a:effectLst/>
                        </a:rPr>
                        <a:t>누적수지</a:t>
                      </a:r>
                      <a:r>
                        <a:rPr lang="en-US" altLang="ko-KR" sz="1400" kern="0" spc="0" dirty="0">
                          <a:effectLst/>
                        </a:rPr>
                        <a:t>(</a:t>
                      </a:r>
                      <a:r>
                        <a:rPr lang="en-US" sz="1400" kern="0" spc="0" dirty="0">
                          <a:effectLst/>
                        </a:rPr>
                        <a:t>B)</a:t>
                      </a:r>
                      <a:endParaRPr lang="en-US" sz="1400" b="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50800" indent="0" algn="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 dirty="0">
                          <a:effectLst/>
                        </a:rPr>
                        <a:t>107,427</a:t>
                      </a:r>
                      <a:endParaRPr lang="en-US" sz="1400" b="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50800" indent="0" algn="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 dirty="0">
                          <a:effectLst/>
                        </a:rPr>
                        <a:t>108,748</a:t>
                      </a:r>
                      <a:endParaRPr lang="en-US" sz="1400" b="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50800" indent="0" algn="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 dirty="0">
                          <a:effectLst/>
                        </a:rPr>
                        <a:t>94,051</a:t>
                      </a:r>
                      <a:endParaRPr lang="en-US" sz="1400" b="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50800" indent="0" algn="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 dirty="0">
                          <a:effectLst/>
                        </a:rPr>
                        <a:t>78,367</a:t>
                      </a:r>
                      <a:endParaRPr lang="en-US" sz="1400" b="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50800" indent="0" algn="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 dirty="0">
                          <a:effectLst/>
                        </a:rPr>
                        <a:t>58,861</a:t>
                      </a:r>
                      <a:endParaRPr lang="en-US" sz="1400" b="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noFill/>
                  </a:tcPr>
                </a:tc>
              </a:tr>
              <a:tr h="336037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kern="0" spc="0" dirty="0" err="1">
                          <a:effectLst/>
                        </a:rPr>
                        <a:t>적립률</a:t>
                      </a:r>
                      <a:r>
                        <a:rPr lang="en-US" altLang="ko-KR" sz="1400" kern="0" spc="0" dirty="0">
                          <a:effectLst/>
                        </a:rPr>
                        <a:t>(B/A)(</a:t>
                      </a:r>
                      <a:r>
                        <a:rPr lang="ko-KR" altLang="en-US" sz="1400" kern="0" spc="0" dirty="0">
                          <a:effectLst/>
                        </a:rPr>
                        <a:t>증감률</a:t>
                      </a:r>
                      <a:r>
                        <a:rPr lang="en-US" altLang="ko-KR" sz="1400" kern="0" spc="0" dirty="0">
                          <a:effectLst/>
                        </a:rPr>
                        <a:t>)</a:t>
                      </a:r>
                      <a:endParaRPr lang="ko-KR" altLang="en-US" sz="1400" b="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50800" indent="0" algn="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 dirty="0">
                          <a:effectLst/>
                        </a:rPr>
                        <a:t>23.4 (18.4)</a:t>
                      </a:r>
                      <a:endParaRPr lang="en-US" sz="1400" b="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50800" indent="0" algn="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 dirty="0">
                          <a:effectLst/>
                        </a:rPr>
                        <a:t>21.0(△10.3)</a:t>
                      </a:r>
                      <a:endParaRPr lang="en-US" sz="1400" b="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50800" indent="0" algn="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 dirty="0">
                          <a:effectLst/>
                        </a:rPr>
                        <a:t>16.5(△21.7)</a:t>
                      </a:r>
                      <a:endParaRPr lang="en-US" sz="1400" b="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50800" indent="0" algn="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 dirty="0">
                          <a:effectLst/>
                        </a:rPr>
                        <a:t>12.8(△22.5)</a:t>
                      </a:r>
                      <a:endParaRPr lang="en-US" sz="1400" b="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50800" indent="0" algn="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 dirty="0">
                          <a:effectLst/>
                        </a:rPr>
                        <a:t>8.9 (△30.4)</a:t>
                      </a:r>
                      <a:endParaRPr lang="en-US" sz="1400" b="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noFill/>
                  </a:tcPr>
                </a:tc>
              </a:tr>
            </a:tbl>
          </a:graphicData>
        </a:graphic>
      </p:graphicFrame>
      <p:sp>
        <p:nvSpPr>
          <p:cNvPr id="5" name="직사각형 4"/>
          <p:cNvSpPr/>
          <p:nvPr/>
        </p:nvSpPr>
        <p:spPr>
          <a:xfrm>
            <a:off x="6940141" y="2985134"/>
            <a:ext cx="196239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/>
            <a:r>
              <a:rPr lang="en-US" altLang="ko-KR" sz="1000" dirty="0">
                <a:latin typeface="+mn-ea"/>
              </a:rPr>
              <a:t>(</a:t>
            </a:r>
            <a:r>
              <a:rPr lang="ko-KR" altLang="en-US" sz="1000" dirty="0">
                <a:latin typeface="+mn-ea"/>
              </a:rPr>
              <a:t>현금흐름 기준</a:t>
            </a:r>
            <a:r>
              <a:rPr lang="en-US" altLang="ko-KR" sz="1000" dirty="0">
                <a:latin typeface="+mn-ea"/>
              </a:rPr>
              <a:t>, </a:t>
            </a:r>
            <a:r>
              <a:rPr lang="ko-KR" altLang="en-US" sz="1000" dirty="0">
                <a:latin typeface="+mn-ea"/>
              </a:rPr>
              <a:t>단위 </a:t>
            </a:r>
            <a:r>
              <a:rPr lang="en-US" altLang="ko-KR" sz="1000" dirty="0">
                <a:latin typeface="+mn-ea"/>
              </a:rPr>
              <a:t>: </a:t>
            </a:r>
            <a:r>
              <a:rPr lang="ko-KR" altLang="en-US" sz="1000" dirty="0" err="1">
                <a:latin typeface="+mn-ea"/>
              </a:rPr>
              <a:t>억원</a:t>
            </a:r>
            <a:r>
              <a:rPr lang="en-US" altLang="ko-KR" sz="1000" dirty="0">
                <a:latin typeface="+mn-ea"/>
              </a:rPr>
              <a:t>, %)</a:t>
            </a:r>
            <a:endParaRPr lang="ko-KR" altLang="en-US" sz="1000" dirty="0">
              <a:latin typeface="+mn-ea"/>
            </a:endParaRPr>
          </a:p>
        </p:txBody>
      </p:sp>
      <p:sp>
        <p:nvSpPr>
          <p:cNvPr id="21" name="오른쪽 화살표 20"/>
          <p:cNvSpPr/>
          <p:nvPr/>
        </p:nvSpPr>
        <p:spPr>
          <a:xfrm>
            <a:off x="376516" y="6243447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43087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649431" y="580697"/>
            <a:ext cx="7719175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나이롱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환자</a:t>
            </a:r>
            <a:r>
              <a:rPr lang="ko-KR" altLang="en-US" sz="2400" dirty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등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자동차보험 심사업무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개</a:t>
            </a:r>
            <a:r>
              <a:rPr lang="ko-KR" altLang="en-US" sz="2400" dirty="0">
                <a:latin typeface="HY견고딕" panose="02030600000101010101" pitchFamily="18" charset="-127"/>
                <a:ea typeface="HY견고딕" panose="02030600000101010101" pitchFamily="18" charset="-127"/>
              </a:rPr>
              <a:t>선</a:t>
            </a:r>
            <a:endParaRPr lang="en-US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56351" y="1228620"/>
            <a:ext cx="8470324" cy="18928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지난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3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간</a:t>
            </a:r>
            <a:r>
              <a:rPr lang="en-US" altLang="ko-KR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(11</a:t>
            </a:r>
            <a:r>
              <a:rPr lang="ko-KR" altLang="en-US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년∼</a:t>
            </a:r>
            <a:r>
              <a:rPr lang="en-US" altLang="ko-KR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13</a:t>
            </a:r>
            <a:r>
              <a:rPr lang="ko-KR" altLang="en-US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년</a:t>
            </a:r>
            <a:r>
              <a:rPr lang="en-US" altLang="ko-KR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교통사고 입원환자 중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不재실환자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다수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en-US" altLang="ko-KR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523</a:t>
            </a:r>
            <a:r>
              <a:rPr lang="ko-KR" altLang="en-US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개 병원 적발 </a:t>
            </a:r>
            <a:endParaRPr lang="ko-KR" altLang="en-US" sz="16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우리나라 자동차보험 환자 평균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입원률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47.9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%</a:t>
            </a:r>
            <a:r>
              <a:rPr lang="en-US" altLang="ko-KR" sz="14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‘</a:t>
            </a:r>
            <a:r>
              <a:rPr lang="en-US" altLang="ko-KR" sz="14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0</a:t>
            </a:r>
            <a:r>
              <a:rPr lang="ko-KR" altLang="en-US" sz="14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기준</a:t>
            </a:r>
            <a:r>
              <a:rPr lang="en-US" altLang="ko-KR" sz="14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. </a:t>
            </a:r>
            <a:r>
              <a:rPr lang="ko-KR" altLang="en-US" sz="14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손보</a:t>
            </a:r>
            <a:r>
              <a:rPr lang="en-US" altLang="ko-KR" sz="14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일본</a:t>
            </a:r>
            <a:r>
              <a:rPr lang="en-US" altLang="ko-KR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5.5%, </a:t>
            </a:r>
            <a:r>
              <a:rPr lang="ko-KR" altLang="en-US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약 </a:t>
            </a:r>
            <a:r>
              <a:rPr lang="en-US" altLang="ko-KR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8.7</a:t>
            </a:r>
            <a:r>
              <a:rPr lang="ko-KR" altLang="en-US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배 </a:t>
            </a:r>
            <a:endParaRPr lang="ko-KR" altLang="en-US" sz="16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심평원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나이롱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환자」의 요양급여 허위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부당청구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근절대책으로 심사업무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위탁</a:t>
            </a:r>
            <a:r>
              <a:rPr lang="en-US" altLang="ko-KR" sz="14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en-US" altLang="ko-KR" sz="1400" dirty="0">
                <a:latin typeface="휴먼명조" panose="02010504000101010101" pitchFamily="2" charset="-127"/>
                <a:ea typeface="휴먼명조" panose="02010504000101010101" pitchFamily="2" charset="-127"/>
              </a:rPr>
              <a:t>13</a:t>
            </a:r>
            <a:r>
              <a:rPr lang="ko-KR" altLang="en-US" sz="140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∼</a:t>
            </a:r>
            <a:r>
              <a:rPr lang="en-US" altLang="ko-KR" sz="140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endParaRPr lang="ko-KR" altLang="en-US" sz="14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·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①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심평원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「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나이롱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환자 및 방치 병원 적발」의 어려움 호소 중 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→ 인력부족 이유 </a:t>
            </a:r>
            <a:endParaRPr lang="ko-KR" altLang="en-US" sz="14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·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②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해외 선진 사례 도입엔 소극적 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→「</a:t>
            </a:r>
            <a:r>
              <a:rPr lang="ko-KR" altLang="en-US" sz="1400" b="1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윗킷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 프로그램</a:t>
            </a:r>
            <a:r>
              <a:rPr lang="en-US" altLang="ko-KR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(Whiplash Injury Tool Kit)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」등</a:t>
            </a:r>
            <a:endParaRPr lang="ko-KR" altLang="en-US" sz="14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872005" y="5661247"/>
            <a:ext cx="8049194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해외 선진 프로그램」 </a:t>
            </a: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및 </a:t>
            </a: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21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나파라치</a:t>
            </a: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신고포상제도 도입」 </a:t>
            </a: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등 </a:t>
            </a:r>
            <a:endParaRPr lang="en-US" altLang="ko-KR" sz="21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2100" dirty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 </a:t>
            </a: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근절대책 보강 필요</a:t>
            </a:r>
            <a:endParaRPr lang="ko-KR" altLang="en-US" sz="21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4" name="오른쪽 화살표 23"/>
          <p:cNvSpPr/>
          <p:nvPr/>
        </p:nvSpPr>
        <p:spPr>
          <a:xfrm>
            <a:off x="6595630" y="182595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오른쪽 화살표 25"/>
          <p:cNvSpPr/>
          <p:nvPr/>
        </p:nvSpPr>
        <p:spPr>
          <a:xfrm>
            <a:off x="587258" y="5805264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27" name="그룹 26"/>
          <p:cNvGrpSpPr/>
          <p:nvPr/>
        </p:nvGrpSpPr>
        <p:grpSpPr>
          <a:xfrm>
            <a:off x="-8274" y="-81403"/>
            <a:ext cx="1120288" cy="1236229"/>
            <a:chOff x="-8274" y="-81403"/>
            <a:chExt cx="1120288" cy="1236229"/>
          </a:xfrm>
        </p:grpSpPr>
        <p:grpSp>
          <p:nvGrpSpPr>
            <p:cNvPr id="28" name="Group 50"/>
            <p:cNvGrpSpPr/>
            <p:nvPr/>
          </p:nvGrpSpPr>
          <p:grpSpPr>
            <a:xfrm>
              <a:off x="-1122" y="-81403"/>
              <a:ext cx="1113136" cy="1236229"/>
              <a:chOff x="-9097" y="-96310"/>
              <a:chExt cx="974935" cy="1025474"/>
            </a:xfrm>
          </p:grpSpPr>
          <p:sp>
            <p:nvSpPr>
              <p:cNvPr id="32" name="Diagonal Stripe 51"/>
              <p:cNvSpPr/>
              <p:nvPr/>
            </p:nvSpPr>
            <p:spPr>
              <a:xfrm>
                <a:off x="-7091" y="-23336"/>
                <a:ext cx="972929" cy="952500"/>
              </a:xfrm>
              <a:prstGeom prst="diagStripe">
                <a:avLst>
                  <a:gd name="adj" fmla="val 61073"/>
                </a:avLst>
              </a:pr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3400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12700" dir="5400000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 rot="18886281">
                <a:off x="58852" y="187690"/>
                <a:ext cx="770174" cy="2021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7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국회의원</a:t>
                </a:r>
                <a:r>
                  <a:rPr lang="ko-KR" altLang="en-US" sz="9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 이명수</a:t>
                </a:r>
                <a:endParaRPr lang="en-US" sz="900" dirty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endParaRPr>
              </a:p>
            </p:txBody>
          </p:sp>
          <p:cxnSp>
            <p:nvCxnSpPr>
              <p:cNvPr id="34" name="Straight Connector 53"/>
              <p:cNvCxnSpPr/>
              <p:nvPr/>
            </p:nvCxnSpPr>
            <p:spPr>
              <a:xfrm flipH="1">
                <a:off x="-9097" y="-22860"/>
                <a:ext cx="623270" cy="623272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54"/>
              <p:cNvCxnSpPr/>
              <p:nvPr/>
            </p:nvCxnSpPr>
            <p:spPr>
              <a:xfrm flipH="1">
                <a:off x="-7091" y="-22860"/>
                <a:ext cx="921493" cy="893213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1" name="그림 3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66808">
              <a:off x="-8274" y="724510"/>
              <a:ext cx="252257" cy="120873"/>
            </a:xfrm>
            <a:prstGeom prst="rect">
              <a:avLst/>
            </a:prstGeom>
          </p:spPr>
        </p:pic>
      </p:grpSp>
      <p:pic>
        <p:nvPicPr>
          <p:cNvPr id="3" name="그림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72471"/>
            <a:ext cx="1326051" cy="340722"/>
          </a:xfrm>
          <a:prstGeom prst="rect">
            <a:avLst/>
          </a:prstGeom>
        </p:spPr>
      </p:pic>
      <p:sp>
        <p:nvSpPr>
          <p:cNvPr id="18" name="오른쪽 화살표 17"/>
          <p:cNvSpPr/>
          <p:nvPr/>
        </p:nvSpPr>
        <p:spPr>
          <a:xfrm>
            <a:off x="6829740" y="141277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3314" name="Picture 2" descr="http://www.sisapress.com/news/photo/201304/60345_71896_314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6980" y="3305877"/>
            <a:ext cx="2071193" cy="2292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2439338" y="3441985"/>
            <a:ext cx="14648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523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개 병원</a:t>
            </a:r>
          </a:p>
        </p:txBody>
      </p:sp>
      <p:sp>
        <p:nvSpPr>
          <p:cNvPr id="4" name="직사각형 3"/>
          <p:cNvSpPr/>
          <p:nvPr/>
        </p:nvSpPr>
        <p:spPr>
          <a:xfrm>
            <a:off x="3124928" y="3853297"/>
            <a:ext cx="6463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dirty="0">
                <a:solidFill>
                  <a:schemeClr val="accent1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空室</a:t>
            </a:r>
          </a:p>
        </p:txBody>
      </p:sp>
      <p:pic>
        <p:nvPicPr>
          <p:cNvPr id="13315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3186" y="3304457"/>
            <a:ext cx="1513862" cy="2186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그림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7964" y="3363985"/>
            <a:ext cx="2894884" cy="2175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092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278" y="3453681"/>
            <a:ext cx="2689225" cy="21326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672961" y="633402"/>
            <a:ext cx="7719175" cy="4124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베이비붐 세대</a:t>
            </a:r>
            <a:r>
              <a:rPr lang="en-US" altLang="ko-KR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건강보험료 폭탄 </a:t>
            </a:r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부과</a:t>
            </a:r>
            <a:endParaRPr lang="en-US" sz="26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56351" y="1228620"/>
            <a:ext cx="853175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700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 베이비붐 세대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58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∼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63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생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)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내년부터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320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 은퇴시작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「</a:t>
            </a:r>
            <a:r>
              <a:rPr lang="ko-KR" altLang="en-US" sz="16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직장」에서 「지역」가입자</a:t>
            </a:r>
            <a:endParaRPr lang="ko-KR" altLang="en-US" sz="1600" spc="-15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실직상태에서「보험료 폭탄」부과 상황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현행 </a:t>
            </a:r>
            <a:r>
              <a:rPr lang="ko-KR" altLang="en-US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지역가입자</a:t>
            </a:r>
            <a:r>
              <a:rPr lang="en-US" altLang="ko-KR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「재산중심 보험료 부과」 </a:t>
            </a:r>
            <a:endParaRPr lang="ko-KR" altLang="en-US" sz="16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①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지역가입 전환세대 중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315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만여 명</a:t>
            </a:r>
            <a:r>
              <a:rPr lang="en-US" altLang="ko-KR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(45.1%) 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→ </a:t>
            </a:r>
            <a:r>
              <a:rPr lang="ko-KR" altLang="en-US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본인부담금 </a:t>
            </a:r>
            <a:r>
              <a:rPr lang="en-US" altLang="ko-KR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123.8%(106,254</a:t>
            </a:r>
            <a:r>
              <a:rPr lang="ko-KR" altLang="en-US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원</a:t>
            </a:r>
            <a:r>
              <a:rPr lang="en-US" altLang="ko-KR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ko-KR" altLang="en-US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 급증 </a:t>
            </a:r>
            <a:endParaRPr lang="ko-KR" altLang="en-US" sz="1400" dirty="0">
              <a:solidFill>
                <a:srgbClr val="C00000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b="1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②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은퇴자</a:t>
            </a:r>
            <a:r>
              <a:rPr lang="en-US" altLang="ko-KR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자녀 실직으로 피부양자에서 지역가입자로 전환된 부모</a:t>
            </a:r>
            <a:r>
              <a:rPr lang="en-US" altLang="ko-KR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경우 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→</a:t>
            </a:r>
            <a:r>
              <a:rPr lang="ko-KR" altLang="en-US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「보험료 증가」모순</a:t>
            </a:r>
            <a:endParaRPr lang="ko-KR" altLang="en-US" sz="1400" dirty="0">
              <a:solidFill>
                <a:srgbClr val="C00000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456351" y="6010255"/>
            <a:ext cx="863686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부과체계 사회적 합의 지연」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에 대비한 선제적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예외적 특단 대책 필요</a:t>
            </a:r>
            <a:endParaRPr lang="ko-KR" altLang="en-US" sz="2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3" name="오른쪽 화살표 22"/>
          <p:cNvSpPr/>
          <p:nvPr/>
        </p:nvSpPr>
        <p:spPr>
          <a:xfrm>
            <a:off x="5823418" y="140114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오른쪽 화살표 23"/>
          <p:cNvSpPr/>
          <p:nvPr/>
        </p:nvSpPr>
        <p:spPr>
          <a:xfrm>
            <a:off x="4587882" y="177115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오른쪽 화살표 25"/>
          <p:cNvSpPr/>
          <p:nvPr/>
        </p:nvSpPr>
        <p:spPr>
          <a:xfrm>
            <a:off x="194813" y="6131261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1824" y="132907"/>
            <a:ext cx="966277" cy="388658"/>
          </a:xfrm>
          <a:prstGeom prst="rect">
            <a:avLst/>
          </a:prstGeom>
        </p:spPr>
      </p:pic>
      <p:grpSp>
        <p:nvGrpSpPr>
          <p:cNvPr id="27" name="그룹 26"/>
          <p:cNvGrpSpPr/>
          <p:nvPr/>
        </p:nvGrpSpPr>
        <p:grpSpPr>
          <a:xfrm>
            <a:off x="-8274" y="-81403"/>
            <a:ext cx="1120288" cy="1236229"/>
            <a:chOff x="-8274" y="-81403"/>
            <a:chExt cx="1120288" cy="1236229"/>
          </a:xfrm>
        </p:grpSpPr>
        <p:grpSp>
          <p:nvGrpSpPr>
            <p:cNvPr id="28" name="Group 50"/>
            <p:cNvGrpSpPr/>
            <p:nvPr/>
          </p:nvGrpSpPr>
          <p:grpSpPr>
            <a:xfrm>
              <a:off x="-1122" y="-81403"/>
              <a:ext cx="1113136" cy="1236229"/>
              <a:chOff x="-9097" y="-96310"/>
              <a:chExt cx="974935" cy="1025474"/>
            </a:xfrm>
          </p:grpSpPr>
          <p:sp>
            <p:nvSpPr>
              <p:cNvPr id="32" name="Diagonal Stripe 51"/>
              <p:cNvSpPr/>
              <p:nvPr/>
            </p:nvSpPr>
            <p:spPr>
              <a:xfrm>
                <a:off x="-7091" y="-23336"/>
                <a:ext cx="972929" cy="952500"/>
              </a:xfrm>
              <a:prstGeom prst="diagStripe">
                <a:avLst>
                  <a:gd name="adj" fmla="val 61073"/>
                </a:avLst>
              </a:pr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3400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12700" dir="5400000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 rot="18886281">
                <a:off x="58852" y="187690"/>
                <a:ext cx="770174" cy="2021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7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국회의원</a:t>
                </a:r>
                <a:r>
                  <a:rPr lang="ko-KR" altLang="en-US" sz="9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 이명수</a:t>
                </a:r>
                <a:endParaRPr lang="en-US" sz="900" dirty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endParaRPr>
              </a:p>
            </p:txBody>
          </p:sp>
          <p:cxnSp>
            <p:nvCxnSpPr>
              <p:cNvPr id="34" name="Straight Connector 53"/>
              <p:cNvCxnSpPr/>
              <p:nvPr/>
            </p:nvCxnSpPr>
            <p:spPr>
              <a:xfrm flipH="1">
                <a:off x="-9097" y="-22860"/>
                <a:ext cx="623270" cy="623272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54"/>
              <p:cNvCxnSpPr/>
              <p:nvPr/>
            </p:nvCxnSpPr>
            <p:spPr>
              <a:xfrm flipH="1">
                <a:off x="-7091" y="-22860"/>
                <a:ext cx="921493" cy="893213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1" name="그림 30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66808">
              <a:off x="-8274" y="724510"/>
              <a:ext cx="252257" cy="120873"/>
            </a:xfrm>
            <a:prstGeom prst="rect">
              <a:avLst/>
            </a:prstGeom>
          </p:spPr>
        </p:pic>
      </p:grpSp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5649" y="2983158"/>
            <a:ext cx="4813022" cy="260317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85516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672961" y="633402"/>
            <a:ext cx="7719175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24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생애주기별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맞춤형 건강검진 </a:t>
            </a:r>
            <a:r>
              <a:rPr lang="ko-KR" altLang="en-US" sz="24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수급률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개선</a:t>
            </a:r>
            <a:endParaRPr lang="en-US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56351" y="1228620"/>
            <a:ext cx="847032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‘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3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기준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일반검진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수검률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72%,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암검진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수검률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43%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9%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차이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검진주기 불일치 때문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암검진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검진 불편 등의 이유로 기피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검진주기 일치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b="1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비일치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정기적으로 반복 지속 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장애인의 건강검진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수검률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66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%</a:t>
            </a:r>
            <a:r>
              <a:rPr lang="en-US" altLang="ko-KR" sz="12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‘</a:t>
            </a:r>
            <a:r>
              <a:rPr lang="en-US" altLang="ko-KR" sz="1200" dirty="0">
                <a:latin typeface="휴먼명조" panose="02010504000101010101" pitchFamily="2" charset="-127"/>
                <a:ea typeface="휴먼명조" panose="02010504000101010101" pitchFamily="2" charset="-127"/>
              </a:rPr>
              <a:t>13</a:t>
            </a:r>
            <a:r>
              <a:rPr lang="ko-KR" altLang="en-US" sz="120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기준</a:t>
            </a:r>
            <a:r>
              <a:rPr lang="en-US" altLang="ko-KR" sz="12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비장애인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73%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근본적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개선에 소극적 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집단거주 북한이탈주민 건강검진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수검률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‘12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44%,‘13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51%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류 국민으로 방치 의혹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456351" y="6010255"/>
            <a:ext cx="8633413" cy="5424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9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검진주기 일원화</a:t>
            </a:r>
            <a:r>
              <a:rPr lang="en-US" altLang="ko-KR" sz="19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9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찾아가는 서비스</a:t>
            </a:r>
            <a:r>
              <a:rPr lang="en-US" altLang="ko-KR" sz="19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9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출장검진」</a:t>
            </a:r>
            <a:r>
              <a:rPr lang="ko-KR" altLang="en-US" sz="19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등 실효성 높은 대책 필요 </a:t>
            </a:r>
            <a:endParaRPr lang="ko-KR" altLang="en-US" sz="195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3" name="오른쪽 화살표 22"/>
          <p:cNvSpPr/>
          <p:nvPr/>
        </p:nvSpPr>
        <p:spPr>
          <a:xfrm>
            <a:off x="5436096" y="140114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오른쪽 화살표 23"/>
          <p:cNvSpPr/>
          <p:nvPr/>
        </p:nvSpPr>
        <p:spPr>
          <a:xfrm>
            <a:off x="3988734" y="177115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오른쪽 화살표 25"/>
          <p:cNvSpPr/>
          <p:nvPr/>
        </p:nvSpPr>
        <p:spPr>
          <a:xfrm>
            <a:off x="194813" y="6131261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1824" y="132907"/>
            <a:ext cx="966277" cy="388658"/>
          </a:xfrm>
          <a:prstGeom prst="rect">
            <a:avLst/>
          </a:prstGeom>
        </p:spPr>
      </p:pic>
      <p:grpSp>
        <p:nvGrpSpPr>
          <p:cNvPr id="27" name="그룹 26"/>
          <p:cNvGrpSpPr/>
          <p:nvPr/>
        </p:nvGrpSpPr>
        <p:grpSpPr>
          <a:xfrm>
            <a:off x="-8274" y="-81403"/>
            <a:ext cx="1120288" cy="1236229"/>
            <a:chOff x="-8274" y="-81403"/>
            <a:chExt cx="1120288" cy="1236229"/>
          </a:xfrm>
        </p:grpSpPr>
        <p:grpSp>
          <p:nvGrpSpPr>
            <p:cNvPr id="28" name="Group 50"/>
            <p:cNvGrpSpPr/>
            <p:nvPr/>
          </p:nvGrpSpPr>
          <p:grpSpPr>
            <a:xfrm>
              <a:off x="-1122" y="-81403"/>
              <a:ext cx="1113136" cy="1236229"/>
              <a:chOff x="-9097" y="-96310"/>
              <a:chExt cx="974935" cy="1025474"/>
            </a:xfrm>
          </p:grpSpPr>
          <p:sp>
            <p:nvSpPr>
              <p:cNvPr id="32" name="Diagonal Stripe 51"/>
              <p:cNvSpPr/>
              <p:nvPr/>
            </p:nvSpPr>
            <p:spPr>
              <a:xfrm>
                <a:off x="-7091" y="-23336"/>
                <a:ext cx="972929" cy="952500"/>
              </a:xfrm>
              <a:prstGeom prst="diagStripe">
                <a:avLst>
                  <a:gd name="adj" fmla="val 61073"/>
                </a:avLst>
              </a:pr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3400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12700" dir="5400000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 rot="18886281">
                <a:off x="58852" y="187690"/>
                <a:ext cx="770174" cy="2021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7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국회의원</a:t>
                </a:r>
                <a:r>
                  <a:rPr lang="ko-KR" altLang="en-US" sz="9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 이명수</a:t>
                </a:r>
                <a:endParaRPr lang="en-US" sz="900" dirty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endParaRPr>
              </a:p>
            </p:txBody>
          </p:sp>
          <p:cxnSp>
            <p:nvCxnSpPr>
              <p:cNvPr id="34" name="Straight Connector 53"/>
              <p:cNvCxnSpPr/>
              <p:nvPr/>
            </p:nvCxnSpPr>
            <p:spPr>
              <a:xfrm flipH="1">
                <a:off x="-9097" y="-22860"/>
                <a:ext cx="623270" cy="623272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54"/>
              <p:cNvCxnSpPr/>
              <p:nvPr/>
            </p:nvCxnSpPr>
            <p:spPr>
              <a:xfrm flipH="1">
                <a:off x="-7091" y="-22860"/>
                <a:ext cx="921493" cy="893213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1" name="그림 30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66808">
              <a:off x="-8274" y="724510"/>
              <a:ext cx="252257" cy="120873"/>
            </a:xfrm>
            <a:prstGeom prst="rect">
              <a:avLst/>
            </a:prstGeom>
          </p:spPr>
        </p:pic>
      </p:grpSp>
      <p:sp>
        <p:nvSpPr>
          <p:cNvPr id="16" name="오른쪽 화살표 15"/>
          <p:cNvSpPr/>
          <p:nvPr/>
        </p:nvSpPr>
        <p:spPr>
          <a:xfrm>
            <a:off x="6260539" y="213285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오른쪽 화살표 16"/>
          <p:cNvSpPr/>
          <p:nvPr/>
        </p:nvSpPr>
        <p:spPr>
          <a:xfrm>
            <a:off x="6316927" y="249289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954" y="3175574"/>
            <a:ext cx="4057394" cy="119136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그림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931" y="3785862"/>
            <a:ext cx="4880826" cy="221724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TextBox 5"/>
          <p:cNvSpPr txBox="1"/>
          <p:nvPr/>
        </p:nvSpPr>
        <p:spPr>
          <a:xfrm>
            <a:off x="916296" y="3462147"/>
            <a:ext cx="69201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100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영유아</a:t>
            </a:r>
            <a:endParaRPr lang="en-US" altLang="ko-KR" sz="11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/>
            <a:r>
              <a:rPr lang="ko-KR" altLang="en-US" sz="11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검</a:t>
            </a:r>
            <a:r>
              <a:rPr lang="ko-KR" altLang="en-US" sz="11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진</a:t>
            </a:r>
            <a:endParaRPr lang="ko-KR" altLang="en-US" sz="11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843403" y="3425009"/>
            <a:ext cx="76402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1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일반</a:t>
            </a:r>
            <a:endParaRPr lang="en-US" altLang="ko-KR" sz="11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/>
            <a:r>
              <a:rPr lang="ko-KR" altLang="en-US" sz="11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건강검</a:t>
            </a:r>
            <a:r>
              <a:rPr lang="ko-KR" altLang="en-US" sz="11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진</a:t>
            </a:r>
            <a:endParaRPr lang="ko-KR" altLang="en-US" sz="11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784777" y="3529876"/>
            <a:ext cx="7640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10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암검진</a:t>
            </a:r>
            <a:endParaRPr lang="ko-KR" altLang="en-US" sz="11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650697" y="3499820"/>
            <a:ext cx="92252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1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생애전환기</a:t>
            </a:r>
            <a:endParaRPr lang="en-US" altLang="ko-KR" sz="11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/>
            <a:r>
              <a:rPr lang="ko-KR" altLang="en-US" sz="11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건강진</a:t>
            </a:r>
            <a:r>
              <a:rPr lang="ko-KR" altLang="en-US" sz="11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단</a:t>
            </a:r>
            <a:endParaRPr lang="ko-KR" altLang="en-US" sz="11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4098" name="Picture 2" descr="http://www.onhospital.org/center/img/01_img25_01_02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8850" y="3551670"/>
            <a:ext cx="3625240" cy="163054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88255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649431" y="580697"/>
            <a:ext cx="7719175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요양기관 현지조사와 조사거부 처분 불균형」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문제</a:t>
            </a:r>
            <a:endParaRPr lang="en-US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56351" y="1228620"/>
            <a:ext cx="847032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요양기관 현지조사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요양급여비용 청구 등 사실관계 및 적법여부 확인하는 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공적행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위</a:t>
            </a:r>
            <a:endParaRPr lang="ko-KR" altLang="en-US" sz="16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현지조사 결과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거짓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부당청구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확인時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전액환수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업무 및 자격정지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처분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실효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성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높아 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조사거부 요양기관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환수 및 업무정지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처분만 가능」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지난 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4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간 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40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여 개소에 달해 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성실히 현장조사 임한 요양기관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「높은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처분사례 발생」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현지조사의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실효성 저해요인 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937917" y="5967145"/>
            <a:ext cx="78973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현지조사 수용자와 거부자의 형평성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수용자의 처벌수위 조정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대책</a:t>
            </a:r>
            <a:endParaRPr lang="ko-KR" altLang="en-US" sz="2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4" name="오른쪽 화살표 23"/>
          <p:cNvSpPr/>
          <p:nvPr/>
        </p:nvSpPr>
        <p:spPr>
          <a:xfrm>
            <a:off x="7092280" y="179127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오른쪽 화살표 25"/>
          <p:cNvSpPr/>
          <p:nvPr/>
        </p:nvSpPr>
        <p:spPr>
          <a:xfrm>
            <a:off x="516134" y="6088151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9" name="오른쪽 화살표 28"/>
          <p:cNvSpPr/>
          <p:nvPr/>
        </p:nvSpPr>
        <p:spPr>
          <a:xfrm>
            <a:off x="5868144" y="213300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27" name="그룹 26"/>
          <p:cNvGrpSpPr/>
          <p:nvPr/>
        </p:nvGrpSpPr>
        <p:grpSpPr>
          <a:xfrm>
            <a:off x="-8274" y="-81403"/>
            <a:ext cx="1120288" cy="1236229"/>
            <a:chOff x="-8274" y="-81403"/>
            <a:chExt cx="1120288" cy="1236229"/>
          </a:xfrm>
        </p:grpSpPr>
        <p:grpSp>
          <p:nvGrpSpPr>
            <p:cNvPr id="28" name="Group 50"/>
            <p:cNvGrpSpPr/>
            <p:nvPr/>
          </p:nvGrpSpPr>
          <p:grpSpPr>
            <a:xfrm>
              <a:off x="-1122" y="-81403"/>
              <a:ext cx="1113136" cy="1236229"/>
              <a:chOff x="-9097" y="-96310"/>
              <a:chExt cx="974935" cy="1025474"/>
            </a:xfrm>
          </p:grpSpPr>
          <p:sp>
            <p:nvSpPr>
              <p:cNvPr id="32" name="Diagonal Stripe 51"/>
              <p:cNvSpPr/>
              <p:nvPr/>
            </p:nvSpPr>
            <p:spPr>
              <a:xfrm>
                <a:off x="-7091" y="-23336"/>
                <a:ext cx="972929" cy="952500"/>
              </a:xfrm>
              <a:prstGeom prst="diagStripe">
                <a:avLst>
                  <a:gd name="adj" fmla="val 61073"/>
                </a:avLst>
              </a:pr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3400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12700" dir="5400000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 rot="18886281">
                <a:off x="58852" y="187690"/>
                <a:ext cx="770174" cy="2021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7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국회의원</a:t>
                </a:r>
                <a:r>
                  <a:rPr lang="ko-KR" altLang="en-US" sz="9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 이명수</a:t>
                </a:r>
                <a:endParaRPr lang="en-US" sz="900" dirty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endParaRPr>
              </a:p>
            </p:txBody>
          </p:sp>
          <p:cxnSp>
            <p:nvCxnSpPr>
              <p:cNvPr id="34" name="Straight Connector 53"/>
              <p:cNvCxnSpPr/>
              <p:nvPr/>
            </p:nvCxnSpPr>
            <p:spPr>
              <a:xfrm flipH="1">
                <a:off x="-9097" y="-22860"/>
                <a:ext cx="623270" cy="623272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54"/>
              <p:cNvCxnSpPr/>
              <p:nvPr/>
            </p:nvCxnSpPr>
            <p:spPr>
              <a:xfrm flipH="1">
                <a:off x="-7091" y="-22860"/>
                <a:ext cx="921493" cy="893213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1" name="그림 3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66808">
              <a:off x="-8274" y="724510"/>
              <a:ext cx="252257" cy="120873"/>
            </a:xfrm>
            <a:prstGeom prst="rect">
              <a:avLst/>
            </a:prstGeom>
          </p:spPr>
        </p:pic>
      </p:grpSp>
      <p:pic>
        <p:nvPicPr>
          <p:cNvPr id="3" name="그림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72471"/>
            <a:ext cx="1326051" cy="340722"/>
          </a:xfrm>
          <a:prstGeom prst="rect">
            <a:avLst/>
          </a:prstGeom>
        </p:spPr>
      </p:pic>
      <p:sp>
        <p:nvSpPr>
          <p:cNvPr id="17" name="오른쪽 화살표 16"/>
          <p:cNvSpPr/>
          <p:nvPr/>
        </p:nvSpPr>
        <p:spPr>
          <a:xfrm>
            <a:off x="5652120" y="249289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124" name="Picture 4" descr="http://www.ilyosisa.co.kr/news/photo/201407/67090_8577_4439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8197" y="2996952"/>
            <a:ext cx="4201468" cy="27215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8" name="Picture 8" descr="http://www.clker.com/cliparts/1/5/e/6/12065640151659966366Rfc1394_Double_Bed.svg.med.png">
            <a:hlinkClick r:id="rId6" tooltip="Download as SVG file"/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9087" y="4287308"/>
            <a:ext cx="2857500" cy="1419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그림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0201" y="3573016"/>
            <a:ext cx="1705598" cy="1788461"/>
          </a:xfrm>
          <a:prstGeom prst="rect">
            <a:avLst/>
          </a:prstGeom>
        </p:spPr>
      </p:pic>
      <p:sp>
        <p:nvSpPr>
          <p:cNvPr id="5" name="모서리가 둥근 직사각형 4"/>
          <p:cNvSpPr/>
          <p:nvPr/>
        </p:nvSpPr>
        <p:spPr>
          <a:xfrm rot="20508383">
            <a:off x="1389615" y="3256634"/>
            <a:ext cx="1728192" cy="648072"/>
          </a:xfrm>
          <a:prstGeom prst="roundRect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z="240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부당청구</a:t>
            </a:r>
            <a:endParaRPr lang="ko-KR" altLang="en-US" sz="240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619739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2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561257" y="513841"/>
            <a:ext cx="7719175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본인부담금 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– </a:t>
            </a:r>
            <a:r>
              <a:rPr lang="ko-KR" altLang="en-US" sz="24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진료비확인제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확대 시행」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문제</a:t>
            </a:r>
            <a:endParaRPr lang="en-US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56351" y="1102660"/>
            <a:ext cx="847032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‘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09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부터 진료비확인제도 시행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의료기관 의료비 과다징수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행태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선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제도 </a:t>
            </a:r>
            <a:r>
              <a:rPr lang="ko-KR" altLang="en-US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확대 방침 </a:t>
            </a:r>
            <a:endParaRPr lang="ko-KR" altLang="en-US" sz="16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의료계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병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의원이 진료비를 과도하게 징수한다는 부정적 인식 우려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제도 </a:t>
            </a:r>
            <a:r>
              <a:rPr lang="ko-KR" altLang="en-US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확대 반대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·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①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본인부담금 진료비확인제도 환자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보호자 등「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청구시에만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가능」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→ 공급자 중심 </a:t>
            </a:r>
            <a:endParaRPr lang="ko-KR" altLang="en-US" sz="14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·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②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환자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진료비확인 중에 민원취하 사례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10%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이상 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→ 추후 진료상 불이익 우려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834074" y="5661248"/>
            <a:ext cx="8092601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중</a:t>
            </a:r>
            <a:r>
              <a:rPr lang="en-US" altLang="ko-KR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장기적 대책으로 </a:t>
            </a: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과다징수 자동판별시스템 구축 추진」</a:t>
            </a:r>
            <a:r>
              <a:rPr lang="en-US" altLang="ko-KR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</a:t>
            </a:r>
          </a:p>
          <a:p>
            <a:pPr>
              <a:lnSpc>
                <a:spcPct val="150000"/>
              </a:lnSpc>
            </a:pP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단기적 대책으로 </a:t>
            </a: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민원 과다발생 요양기관 처벌 강화」 </a:t>
            </a: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등</a:t>
            </a: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필요</a:t>
            </a:r>
            <a:endParaRPr lang="ko-KR" altLang="en-US" sz="21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4" name="오른쪽 화살표 23"/>
          <p:cNvSpPr/>
          <p:nvPr/>
        </p:nvSpPr>
        <p:spPr>
          <a:xfrm>
            <a:off x="6804248" y="128681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오른쪽 화살표 25"/>
          <p:cNvSpPr/>
          <p:nvPr/>
        </p:nvSpPr>
        <p:spPr>
          <a:xfrm>
            <a:off x="417533" y="5811616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9" name="오른쪽 화살표 28"/>
          <p:cNvSpPr/>
          <p:nvPr/>
        </p:nvSpPr>
        <p:spPr>
          <a:xfrm>
            <a:off x="6696236" y="164685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27" name="그룹 26"/>
          <p:cNvGrpSpPr/>
          <p:nvPr/>
        </p:nvGrpSpPr>
        <p:grpSpPr>
          <a:xfrm>
            <a:off x="-8274" y="-81403"/>
            <a:ext cx="1120288" cy="1236229"/>
            <a:chOff x="-8274" y="-81403"/>
            <a:chExt cx="1120288" cy="1236229"/>
          </a:xfrm>
        </p:grpSpPr>
        <p:grpSp>
          <p:nvGrpSpPr>
            <p:cNvPr id="28" name="Group 50"/>
            <p:cNvGrpSpPr/>
            <p:nvPr/>
          </p:nvGrpSpPr>
          <p:grpSpPr>
            <a:xfrm>
              <a:off x="-1122" y="-81403"/>
              <a:ext cx="1113136" cy="1236229"/>
              <a:chOff x="-9097" y="-96310"/>
              <a:chExt cx="974935" cy="1025474"/>
            </a:xfrm>
          </p:grpSpPr>
          <p:sp>
            <p:nvSpPr>
              <p:cNvPr id="32" name="Diagonal Stripe 51"/>
              <p:cNvSpPr/>
              <p:nvPr/>
            </p:nvSpPr>
            <p:spPr>
              <a:xfrm>
                <a:off x="-7091" y="-23336"/>
                <a:ext cx="972929" cy="952500"/>
              </a:xfrm>
              <a:prstGeom prst="diagStripe">
                <a:avLst>
                  <a:gd name="adj" fmla="val 61073"/>
                </a:avLst>
              </a:pr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3400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12700" dir="5400000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 rot="18886281">
                <a:off x="58852" y="187690"/>
                <a:ext cx="770174" cy="2021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7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국회의원</a:t>
                </a:r>
                <a:r>
                  <a:rPr lang="ko-KR" altLang="en-US" sz="9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 이명수</a:t>
                </a:r>
                <a:endParaRPr lang="en-US" sz="900" dirty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endParaRPr>
              </a:p>
            </p:txBody>
          </p:sp>
          <p:cxnSp>
            <p:nvCxnSpPr>
              <p:cNvPr id="34" name="Straight Connector 53"/>
              <p:cNvCxnSpPr/>
              <p:nvPr/>
            </p:nvCxnSpPr>
            <p:spPr>
              <a:xfrm flipH="1">
                <a:off x="-9097" y="-22860"/>
                <a:ext cx="623270" cy="623272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54"/>
              <p:cNvCxnSpPr/>
              <p:nvPr/>
            </p:nvCxnSpPr>
            <p:spPr>
              <a:xfrm flipH="1">
                <a:off x="-7091" y="-22860"/>
                <a:ext cx="921493" cy="893213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1" name="그림 3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66808">
              <a:off x="-8274" y="724510"/>
              <a:ext cx="252257" cy="120873"/>
            </a:xfrm>
            <a:prstGeom prst="rect">
              <a:avLst/>
            </a:prstGeom>
          </p:spPr>
        </p:pic>
      </p:grpSp>
      <p:pic>
        <p:nvPicPr>
          <p:cNvPr id="3" name="그림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72471"/>
            <a:ext cx="1326051" cy="340722"/>
          </a:xfrm>
          <a:prstGeom prst="rect">
            <a:avLst/>
          </a:prstGeom>
        </p:spPr>
      </p:pic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588" y="2705948"/>
            <a:ext cx="3404989" cy="284322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1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1513" y="2705948"/>
            <a:ext cx="2733417" cy="28377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모서리가 둥근 직사각형 1"/>
          <p:cNvSpPr/>
          <p:nvPr/>
        </p:nvSpPr>
        <p:spPr>
          <a:xfrm>
            <a:off x="6725182" y="4601891"/>
            <a:ext cx="1584176" cy="50405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환자 진료비 </a:t>
            </a:r>
            <a:endParaRPr lang="en-US" altLang="ko-KR" sz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/>
            <a:r>
              <a:rPr lang="ko-KR" altLang="en-US" sz="1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확인 가능 내역</a:t>
            </a:r>
            <a:endParaRPr lang="ko-KR" alt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21974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671135" y="545535"/>
            <a:ext cx="7719175" cy="4370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8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적정성평가제도 평가지표 논란」</a:t>
            </a:r>
            <a:r>
              <a:rPr lang="ko-KR" altLang="en-US" sz="28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문제</a:t>
            </a:r>
            <a:endParaRPr lang="en-US" sz="28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56351" y="1228620"/>
            <a:ext cx="847032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「적정성 평가제도」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의료서비스의 질 향상과 비용부담의 적정화를 목적으로 시행 중</a:t>
            </a:r>
            <a:r>
              <a:rPr lang="ko-KR" altLang="en-US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endParaRPr lang="ko-KR" altLang="en-US" sz="16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대한뇌졸중학회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뇌신경재활학회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급성기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뇌졸중 평가지표 관련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재검토 의견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대한심장학회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의료계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허혈성심질환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통합평가 강행 반대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적정성 평가 논란 지속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대한의사협회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적정성 평가 및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중앙평가위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운영 관련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국민의료 </a:t>
            </a:r>
            <a:r>
              <a:rPr lang="ko-KR" altLang="en-US" sz="1600" b="1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평가발전委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구성 요구 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867617" y="5686806"/>
            <a:ext cx="8109973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1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중증질환별</a:t>
            </a: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적정성 평가지표의 적절성 보완」</a:t>
            </a:r>
            <a:r>
              <a:rPr lang="en-US" altLang="ko-KR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21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평가委</a:t>
            </a:r>
            <a:r>
              <a:rPr lang="ko-KR" altLang="en-US" sz="21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심의 </a:t>
            </a:r>
            <a:endParaRPr lang="en-US" altLang="ko-KR" sz="2100" dirty="0" smtClean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사례 전면 공개」</a:t>
            </a: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등 필요</a:t>
            </a:r>
            <a:endParaRPr lang="ko-KR" altLang="en-US" sz="21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4" name="오른쪽 화살표 23"/>
          <p:cNvSpPr/>
          <p:nvPr/>
        </p:nvSpPr>
        <p:spPr>
          <a:xfrm>
            <a:off x="6876256" y="177281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오른쪽 화살표 25"/>
          <p:cNvSpPr/>
          <p:nvPr/>
        </p:nvSpPr>
        <p:spPr>
          <a:xfrm>
            <a:off x="393108" y="5805264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9" name="오른쪽 화살표 28"/>
          <p:cNvSpPr/>
          <p:nvPr/>
        </p:nvSpPr>
        <p:spPr>
          <a:xfrm>
            <a:off x="5364088" y="249289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27" name="그룹 26"/>
          <p:cNvGrpSpPr/>
          <p:nvPr/>
        </p:nvGrpSpPr>
        <p:grpSpPr>
          <a:xfrm>
            <a:off x="-8274" y="-81403"/>
            <a:ext cx="1120288" cy="1236229"/>
            <a:chOff x="-8274" y="-81403"/>
            <a:chExt cx="1120288" cy="1236229"/>
          </a:xfrm>
        </p:grpSpPr>
        <p:grpSp>
          <p:nvGrpSpPr>
            <p:cNvPr id="28" name="Group 50"/>
            <p:cNvGrpSpPr/>
            <p:nvPr/>
          </p:nvGrpSpPr>
          <p:grpSpPr>
            <a:xfrm>
              <a:off x="-1122" y="-81403"/>
              <a:ext cx="1113136" cy="1236229"/>
              <a:chOff x="-9097" y="-96310"/>
              <a:chExt cx="974935" cy="1025474"/>
            </a:xfrm>
          </p:grpSpPr>
          <p:sp>
            <p:nvSpPr>
              <p:cNvPr id="32" name="Diagonal Stripe 51"/>
              <p:cNvSpPr/>
              <p:nvPr/>
            </p:nvSpPr>
            <p:spPr>
              <a:xfrm>
                <a:off x="-7091" y="-23336"/>
                <a:ext cx="972929" cy="952500"/>
              </a:xfrm>
              <a:prstGeom prst="diagStripe">
                <a:avLst>
                  <a:gd name="adj" fmla="val 61073"/>
                </a:avLst>
              </a:pr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3400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12700" dir="5400000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 rot="18886281">
                <a:off x="58852" y="187690"/>
                <a:ext cx="770174" cy="2021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7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국회의원</a:t>
                </a:r>
                <a:r>
                  <a:rPr lang="ko-KR" altLang="en-US" sz="9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 이명수</a:t>
                </a:r>
                <a:endParaRPr lang="en-US" sz="900" dirty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endParaRPr>
              </a:p>
            </p:txBody>
          </p:sp>
          <p:cxnSp>
            <p:nvCxnSpPr>
              <p:cNvPr id="34" name="Straight Connector 53"/>
              <p:cNvCxnSpPr/>
              <p:nvPr/>
            </p:nvCxnSpPr>
            <p:spPr>
              <a:xfrm flipH="1">
                <a:off x="-9097" y="-22860"/>
                <a:ext cx="623270" cy="623272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54"/>
              <p:cNvCxnSpPr/>
              <p:nvPr/>
            </p:nvCxnSpPr>
            <p:spPr>
              <a:xfrm flipH="1">
                <a:off x="-7091" y="-22860"/>
                <a:ext cx="921493" cy="893213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1" name="그림 3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66808">
              <a:off x="-8274" y="724510"/>
              <a:ext cx="252257" cy="120873"/>
            </a:xfrm>
            <a:prstGeom prst="rect">
              <a:avLst/>
            </a:prstGeom>
          </p:spPr>
        </p:pic>
      </p:grpSp>
      <p:pic>
        <p:nvPicPr>
          <p:cNvPr id="3" name="그림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72471"/>
            <a:ext cx="1326051" cy="340722"/>
          </a:xfrm>
          <a:prstGeom prst="rect">
            <a:avLst/>
          </a:prstGeom>
        </p:spPr>
      </p:pic>
      <p:sp>
        <p:nvSpPr>
          <p:cNvPr id="19" name="오른쪽 화살표 18"/>
          <p:cNvSpPr/>
          <p:nvPr/>
        </p:nvSpPr>
        <p:spPr>
          <a:xfrm>
            <a:off x="6300192" y="213285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" name="오른쪽 화살표 19"/>
          <p:cNvSpPr/>
          <p:nvPr/>
        </p:nvSpPr>
        <p:spPr>
          <a:xfrm>
            <a:off x="2555776" y="141277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37" name="Chart 85"/>
          <p:cNvGraphicFramePr/>
          <p:nvPr>
            <p:extLst>
              <p:ext uri="{D42A27DB-BD31-4B8C-83A1-F6EECF244321}">
                <p14:modId xmlns:p14="http://schemas.microsoft.com/office/powerpoint/2010/main" val="1882999297"/>
              </p:ext>
            </p:extLst>
          </p:nvPr>
        </p:nvGraphicFramePr>
        <p:xfrm>
          <a:off x="2267744" y="2691049"/>
          <a:ext cx="1244866" cy="3542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5" name="그룹 4"/>
          <p:cNvGrpSpPr/>
          <p:nvPr/>
        </p:nvGrpSpPr>
        <p:grpSpPr>
          <a:xfrm>
            <a:off x="2415298" y="2941836"/>
            <a:ext cx="982473" cy="844023"/>
            <a:chOff x="3059832" y="2558007"/>
            <a:chExt cx="982473" cy="844023"/>
          </a:xfrm>
        </p:grpSpPr>
        <p:graphicFrame>
          <p:nvGraphicFramePr>
            <p:cNvPr id="21" name="Chart 85"/>
            <p:cNvGraphicFramePr/>
            <p:nvPr>
              <p:extLst>
                <p:ext uri="{D42A27DB-BD31-4B8C-83A1-F6EECF244321}">
                  <p14:modId xmlns:p14="http://schemas.microsoft.com/office/powerpoint/2010/main" val="1683980197"/>
                </p:ext>
              </p:extLst>
            </p:nvPr>
          </p:nvGraphicFramePr>
          <p:xfrm>
            <a:off x="3059832" y="2852936"/>
            <a:ext cx="982473" cy="54909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pic>
          <p:nvPicPr>
            <p:cNvPr id="3074" name="Picture 2" descr="http://www.clker.com/cliparts/a/a/4/b/12344034822077289736buggi_build.svg.med.png">
              <a:hlinkClick r:id="rId7" tooltip="Download as SVG file"/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19872" y="2558007"/>
              <a:ext cx="295108" cy="4805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TextBox 1"/>
            <p:cNvSpPr txBox="1"/>
            <p:nvPr/>
          </p:nvSpPr>
          <p:spPr>
            <a:xfrm>
              <a:off x="3171382" y="2996952"/>
              <a:ext cx="79208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200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HY견고딕" panose="02030600000101010101" pitchFamily="18" charset="-127"/>
                  <a:ea typeface="HY견고딕" panose="02030600000101010101" pitchFamily="18" charset="-127"/>
                </a:rPr>
                <a:t>정부</a:t>
              </a:r>
            </a:p>
          </p:txBody>
        </p:sp>
      </p:grpSp>
      <p:grpSp>
        <p:nvGrpSpPr>
          <p:cNvPr id="13" name="그룹 12"/>
          <p:cNvGrpSpPr/>
          <p:nvPr/>
        </p:nvGrpSpPr>
        <p:grpSpPr>
          <a:xfrm>
            <a:off x="904314" y="4439603"/>
            <a:ext cx="982473" cy="815639"/>
            <a:chOff x="904314" y="4439603"/>
            <a:chExt cx="982473" cy="815639"/>
          </a:xfrm>
        </p:grpSpPr>
        <p:graphicFrame>
          <p:nvGraphicFramePr>
            <p:cNvPr id="25" name="Chart 85"/>
            <p:cNvGraphicFramePr/>
            <p:nvPr>
              <p:extLst>
                <p:ext uri="{D42A27DB-BD31-4B8C-83A1-F6EECF244321}">
                  <p14:modId xmlns:p14="http://schemas.microsoft.com/office/powerpoint/2010/main" val="2553987335"/>
                </p:ext>
              </p:extLst>
            </p:nvPr>
          </p:nvGraphicFramePr>
          <p:xfrm>
            <a:off x="904314" y="4706148"/>
            <a:ext cx="982473" cy="54909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9"/>
            </a:graphicData>
          </a:graphic>
        </p:graphicFrame>
        <p:sp>
          <p:nvSpPr>
            <p:cNvPr id="41" name="TextBox 40"/>
            <p:cNvSpPr txBox="1"/>
            <p:nvPr/>
          </p:nvSpPr>
          <p:spPr>
            <a:xfrm>
              <a:off x="982402" y="4873983"/>
              <a:ext cx="83769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000" dirty="0" err="1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HY견고딕" panose="02030600000101010101" pitchFamily="18" charset="-127"/>
                  <a:ea typeface="HY견고딕" panose="02030600000101010101" pitchFamily="18" charset="-127"/>
                </a:rPr>
                <a:t>심평원내부</a:t>
              </a:r>
              <a:endParaRPr lang="ko-KR" altLang="en-US" sz="10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pic>
          <p:nvPicPr>
            <p:cNvPr id="43" name="그림 42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4359" y="4439603"/>
              <a:ext cx="464349" cy="447565"/>
            </a:xfrm>
            <a:prstGeom prst="rect">
              <a:avLst/>
            </a:prstGeom>
          </p:spPr>
        </p:pic>
      </p:grpSp>
      <p:grpSp>
        <p:nvGrpSpPr>
          <p:cNvPr id="14" name="그룹 13"/>
          <p:cNvGrpSpPr/>
          <p:nvPr/>
        </p:nvGrpSpPr>
        <p:grpSpPr>
          <a:xfrm>
            <a:off x="733660" y="3424508"/>
            <a:ext cx="982473" cy="778800"/>
            <a:chOff x="733660" y="3424508"/>
            <a:chExt cx="982473" cy="778800"/>
          </a:xfrm>
        </p:grpSpPr>
        <p:graphicFrame>
          <p:nvGraphicFramePr>
            <p:cNvPr id="36" name="Chart 85"/>
            <p:cNvGraphicFramePr/>
            <p:nvPr>
              <p:extLst>
                <p:ext uri="{D42A27DB-BD31-4B8C-83A1-F6EECF244321}">
                  <p14:modId xmlns:p14="http://schemas.microsoft.com/office/powerpoint/2010/main" val="4053100002"/>
                </p:ext>
              </p:extLst>
            </p:nvPr>
          </p:nvGraphicFramePr>
          <p:xfrm>
            <a:off x="733660" y="3654214"/>
            <a:ext cx="982473" cy="54909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1"/>
            </a:graphicData>
          </a:graphic>
        </p:graphicFrame>
        <p:sp>
          <p:nvSpPr>
            <p:cNvPr id="38" name="TextBox 37"/>
            <p:cNvSpPr txBox="1"/>
            <p:nvPr/>
          </p:nvSpPr>
          <p:spPr>
            <a:xfrm>
              <a:off x="827584" y="3818645"/>
              <a:ext cx="83769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000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HY견고딕" panose="02030600000101010101" pitchFamily="18" charset="-127"/>
                  <a:ea typeface="HY견고딕" panose="02030600000101010101" pitchFamily="18" charset="-127"/>
                </a:rPr>
                <a:t>의료공급자</a:t>
              </a:r>
            </a:p>
          </p:txBody>
        </p:sp>
        <p:pic>
          <p:nvPicPr>
            <p:cNvPr id="3076" name="Picture 4" descr="http://www.clker.com/cliparts/1/3/8/4/1206572367240260960johnny_automatic_NPS_map_pictographs_part_38.svg.med.png">
              <a:hlinkClick r:id="rId12" tooltip="Download as SVG file"/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68077" y="3424508"/>
              <a:ext cx="371988" cy="3719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" name="그룹 9"/>
          <p:cNvGrpSpPr/>
          <p:nvPr/>
        </p:nvGrpSpPr>
        <p:grpSpPr>
          <a:xfrm>
            <a:off x="4025520" y="3397936"/>
            <a:ext cx="982473" cy="850875"/>
            <a:chOff x="3124177" y="3358112"/>
            <a:chExt cx="982473" cy="850875"/>
          </a:xfrm>
        </p:grpSpPr>
        <p:graphicFrame>
          <p:nvGraphicFramePr>
            <p:cNvPr id="23" name="Chart 85"/>
            <p:cNvGraphicFramePr/>
            <p:nvPr>
              <p:extLst>
                <p:ext uri="{D42A27DB-BD31-4B8C-83A1-F6EECF244321}">
                  <p14:modId xmlns:p14="http://schemas.microsoft.com/office/powerpoint/2010/main" val="2524024597"/>
                </p:ext>
              </p:extLst>
            </p:nvPr>
          </p:nvGraphicFramePr>
          <p:xfrm>
            <a:off x="3124177" y="3659893"/>
            <a:ext cx="982473" cy="54909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4"/>
            </a:graphicData>
          </a:graphic>
        </p:graphicFrame>
        <p:sp>
          <p:nvSpPr>
            <p:cNvPr id="39" name="TextBox 38"/>
            <p:cNvSpPr txBox="1"/>
            <p:nvPr/>
          </p:nvSpPr>
          <p:spPr>
            <a:xfrm>
              <a:off x="3183564" y="3830267"/>
              <a:ext cx="83769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000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HY견고딕" panose="02030600000101010101" pitchFamily="18" charset="-127"/>
                  <a:ea typeface="HY견고딕" panose="02030600000101010101" pitchFamily="18" charset="-127"/>
                </a:rPr>
                <a:t>의료수요자</a:t>
              </a:r>
            </a:p>
          </p:txBody>
        </p:sp>
        <p:pic>
          <p:nvPicPr>
            <p:cNvPr id="3078" name="Picture 6" descr="http://www.clker.com/cliparts/M/t/o/7/3/E/three-guys-in-suits-th.png"/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98769">
              <a:off x="3301948" y="3358112"/>
              <a:ext cx="600928" cy="5047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" name="그룹 8"/>
          <p:cNvGrpSpPr/>
          <p:nvPr/>
        </p:nvGrpSpPr>
        <p:grpSpPr>
          <a:xfrm>
            <a:off x="3883472" y="4462142"/>
            <a:ext cx="982473" cy="823594"/>
            <a:chOff x="2982129" y="4422318"/>
            <a:chExt cx="982473" cy="823594"/>
          </a:xfrm>
        </p:grpSpPr>
        <p:graphicFrame>
          <p:nvGraphicFramePr>
            <p:cNvPr id="30" name="Chart 85"/>
            <p:cNvGraphicFramePr/>
            <p:nvPr>
              <p:extLst>
                <p:ext uri="{D42A27DB-BD31-4B8C-83A1-F6EECF244321}">
                  <p14:modId xmlns:p14="http://schemas.microsoft.com/office/powerpoint/2010/main" val="2426983025"/>
                </p:ext>
              </p:extLst>
            </p:nvPr>
          </p:nvGraphicFramePr>
          <p:xfrm>
            <a:off x="2982129" y="4696818"/>
            <a:ext cx="982473" cy="54909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6"/>
            </a:graphicData>
          </a:graphic>
        </p:graphicFrame>
        <p:sp>
          <p:nvSpPr>
            <p:cNvPr id="40" name="TextBox 39"/>
            <p:cNvSpPr txBox="1"/>
            <p:nvPr/>
          </p:nvSpPr>
          <p:spPr>
            <a:xfrm>
              <a:off x="3054137" y="4873983"/>
              <a:ext cx="83769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100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HY견고딕" panose="02030600000101010101" pitchFamily="18" charset="-127"/>
                  <a:ea typeface="HY견고딕" panose="02030600000101010101" pitchFamily="18" charset="-127"/>
                </a:rPr>
                <a:t>보험자</a:t>
              </a:r>
            </a:p>
          </p:txBody>
        </p:sp>
        <p:pic>
          <p:nvPicPr>
            <p:cNvPr id="3080" name="Picture 8" descr="http://www.clker.com/cliparts/D/m/h/i/B/M/open-enrollment-md.png">
              <a:hlinkClick r:id="rId17" tooltip="Download as SVG file"/>
            </p:cNvPr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1404" y="4532206"/>
              <a:ext cx="259250" cy="3259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82" name="Picture 10" descr="http://www.clker.com/cliparts/0/8/4/2/1194984656169603161people_juliane_krug_02c.svg.med.png">
              <a:hlinkClick r:id="rId19" tooltip="Download as SVG file"/>
            </p:cNvPr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81174" y="4422318"/>
              <a:ext cx="269174" cy="4516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" name="그룹 7"/>
          <p:cNvGrpSpPr/>
          <p:nvPr/>
        </p:nvGrpSpPr>
        <p:grpSpPr>
          <a:xfrm>
            <a:off x="5619469" y="3101549"/>
            <a:ext cx="2315920" cy="2146086"/>
            <a:chOff x="5086555" y="3101549"/>
            <a:chExt cx="2315920" cy="2146086"/>
          </a:xfrm>
        </p:grpSpPr>
        <p:pic>
          <p:nvPicPr>
            <p:cNvPr id="3086" name="Picture 14" descr="http://www.clker.com/cliparts/a/b/c/b/11949844121413126346fancy_folder_01.svg.med.png">
              <a:hlinkClick r:id="rId21" tooltip="Download as SVG file"/>
            </p:cNvPr>
            <p:cNvPicPr>
              <a:picLocks noChangeAspect="1" noChangeArrowheads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86555" y="3101549"/>
              <a:ext cx="2315920" cy="21460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TextBox 5"/>
            <p:cNvSpPr txBox="1"/>
            <p:nvPr/>
          </p:nvSpPr>
          <p:spPr>
            <a:xfrm rot="21245695">
              <a:off x="6592763" y="3469291"/>
              <a:ext cx="369332" cy="860274"/>
            </a:xfrm>
            <a:prstGeom prst="rect">
              <a:avLst/>
            </a:prstGeom>
            <a:noFill/>
          </p:spPr>
          <p:txBody>
            <a:bodyPr vert="eaVert" wrap="square" rtlCol="0">
              <a:spAutoFit/>
            </a:bodyPr>
            <a:lstStyle/>
            <a:p>
              <a:r>
                <a:rPr lang="ko-KR" altLang="en-US" sz="1200" spc="3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평가항목</a:t>
              </a:r>
            </a:p>
          </p:txBody>
        </p:sp>
        <p:sp>
          <p:nvSpPr>
            <p:cNvPr id="7" name="TextBox 6"/>
            <p:cNvSpPr txBox="1"/>
            <p:nvPr/>
          </p:nvSpPr>
          <p:spPr>
            <a:xfrm rot="21319989">
              <a:off x="5290501" y="3533614"/>
              <a:ext cx="1713383" cy="10618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1400" dirty="0">
                  <a:latin typeface="HY견고딕" panose="02030600000101010101" pitchFamily="18" charset="-127"/>
                  <a:ea typeface="HY견고딕" panose="02030600000101010101" pitchFamily="18" charset="-127"/>
                </a:rPr>
                <a:t>·</a:t>
              </a:r>
              <a:r>
                <a:rPr lang="ko-KR" altLang="en-US" sz="1400" dirty="0" smtClean="0">
                  <a:latin typeface="HY견고딕" panose="02030600000101010101" pitchFamily="18" charset="-127"/>
                  <a:ea typeface="HY견고딕" panose="02030600000101010101" pitchFamily="18" charset="-127"/>
                </a:rPr>
                <a:t>입원진료</a:t>
              </a:r>
              <a:endPara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  <a:p>
              <a:pPr>
                <a:lnSpc>
                  <a:spcPct val="150000"/>
                </a:lnSpc>
              </a:pPr>
              <a:r>
                <a:rPr lang="en-US" altLang="ko-KR" sz="1400" dirty="0" smtClean="0">
                  <a:latin typeface="HY견고딕" panose="02030600000101010101" pitchFamily="18" charset="-127"/>
                  <a:ea typeface="HY견고딕" panose="02030600000101010101" pitchFamily="18" charset="-127"/>
                </a:rPr>
                <a:t>·</a:t>
              </a:r>
              <a:r>
                <a:rPr lang="ko-KR" altLang="en-US" sz="1400" dirty="0" smtClean="0">
                  <a:latin typeface="HY견고딕" panose="02030600000101010101" pitchFamily="18" charset="-127"/>
                  <a:ea typeface="HY견고딕" panose="02030600000101010101" pitchFamily="18" charset="-127"/>
                </a:rPr>
                <a:t>장기진료</a:t>
              </a:r>
              <a:endPara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  <a:p>
              <a:pPr>
                <a:lnSpc>
                  <a:spcPct val="150000"/>
                </a:lnSpc>
              </a:pPr>
              <a:r>
                <a:rPr lang="en-US" altLang="ko-KR" sz="1400" dirty="0" smtClean="0">
                  <a:latin typeface="HY견고딕" panose="02030600000101010101" pitchFamily="18" charset="-127"/>
                  <a:ea typeface="HY견고딕" panose="02030600000101010101" pitchFamily="18" charset="-127"/>
                </a:rPr>
                <a:t>·</a:t>
              </a:r>
              <a:r>
                <a:rPr lang="ko-KR" altLang="en-US" sz="1400" dirty="0" smtClean="0">
                  <a:latin typeface="HY견고딕" panose="02030600000101010101" pitchFamily="18" charset="-127"/>
                  <a:ea typeface="HY견고딕" panose="02030600000101010101" pitchFamily="18" charset="-127"/>
                </a:rPr>
                <a:t>외래진료</a:t>
              </a:r>
            </a:p>
          </p:txBody>
        </p:sp>
      </p:grpSp>
      <p:cxnSp>
        <p:nvCxnSpPr>
          <p:cNvPr id="16" name="직선 연결선 15"/>
          <p:cNvCxnSpPr/>
          <p:nvPr/>
        </p:nvCxnSpPr>
        <p:spPr>
          <a:xfrm>
            <a:off x="2922892" y="3674316"/>
            <a:ext cx="0" cy="390212"/>
          </a:xfrm>
          <a:prstGeom prst="line">
            <a:avLst/>
          </a:prstGeom>
          <a:ln w="34925"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직선 연결선 56"/>
          <p:cNvCxnSpPr/>
          <p:nvPr/>
        </p:nvCxnSpPr>
        <p:spPr>
          <a:xfrm>
            <a:off x="1604212" y="3993201"/>
            <a:ext cx="735540" cy="289084"/>
          </a:xfrm>
          <a:prstGeom prst="line">
            <a:avLst/>
          </a:prstGeom>
          <a:ln w="34925"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직선 연결선 58"/>
          <p:cNvCxnSpPr/>
          <p:nvPr/>
        </p:nvCxnSpPr>
        <p:spPr>
          <a:xfrm flipH="1">
            <a:off x="3529367" y="4043014"/>
            <a:ext cx="593027" cy="289083"/>
          </a:xfrm>
          <a:prstGeom prst="line">
            <a:avLst/>
          </a:prstGeom>
          <a:ln w="34925"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직선 연결선 65"/>
          <p:cNvCxnSpPr>
            <a:stCxn id="41" idx="3"/>
          </p:cNvCxnSpPr>
          <p:nvPr/>
        </p:nvCxnSpPr>
        <p:spPr>
          <a:xfrm flipV="1">
            <a:off x="1820099" y="4572031"/>
            <a:ext cx="591661" cy="425063"/>
          </a:xfrm>
          <a:prstGeom prst="line">
            <a:avLst/>
          </a:prstGeom>
          <a:ln w="34925"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직선 연결선 74"/>
          <p:cNvCxnSpPr/>
          <p:nvPr/>
        </p:nvCxnSpPr>
        <p:spPr>
          <a:xfrm flipH="1" flipV="1">
            <a:off x="3434815" y="4572029"/>
            <a:ext cx="538675" cy="425063"/>
          </a:xfrm>
          <a:prstGeom prst="line">
            <a:avLst/>
          </a:prstGeom>
          <a:ln w="34925"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/>
          <p:cNvSpPr txBox="1"/>
          <p:nvPr/>
        </p:nvSpPr>
        <p:spPr>
          <a:xfrm>
            <a:off x="2339752" y="3721397"/>
            <a:ext cx="118961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정책연계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3303132" y="4079652"/>
            <a:ext cx="11896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평가결과공개</a:t>
            </a:r>
            <a:endParaRPr lang="en-US" altLang="ko-KR" sz="9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/>
            <a:r>
              <a:rPr lang="ko-KR" altLang="en-US" sz="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진료정보제</a:t>
            </a:r>
            <a:r>
              <a:rPr lang="ko-KR" altLang="en-US" sz="900" dirty="0">
                <a:latin typeface="HY견고딕" panose="02030600000101010101" pitchFamily="18" charset="-127"/>
                <a:ea typeface="HY견고딕" panose="02030600000101010101" pitchFamily="18" charset="-127"/>
              </a:rPr>
              <a:t>공</a:t>
            </a:r>
            <a:endParaRPr lang="en-US" altLang="ko-KR" sz="9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2936817" y="4627760"/>
            <a:ext cx="11896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가감지급</a:t>
            </a:r>
            <a:endParaRPr lang="en-US" altLang="ko-KR" sz="9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/>
            <a:r>
              <a:rPr lang="ko-KR" altLang="en-US" sz="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결과통</a:t>
            </a:r>
            <a:r>
              <a:rPr lang="ko-KR" altLang="en-US" sz="900" dirty="0">
                <a:latin typeface="HY견고딕" panose="02030600000101010101" pitchFamily="18" charset="-127"/>
                <a:ea typeface="HY견고딕" panose="02030600000101010101" pitchFamily="18" charset="-127"/>
              </a:rPr>
              <a:t>보</a:t>
            </a:r>
            <a:endParaRPr lang="ko-KR" altLang="en-US" sz="9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1150137" y="4043014"/>
            <a:ext cx="11896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평가결과제공</a:t>
            </a:r>
            <a:endParaRPr lang="en-US" altLang="ko-KR" sz="9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/>
            <a:r>
              <a:rPr lang="ko-KR" altLang="en-US" sz="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질 향상 활동 지원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1708549" y="4636397"/>
            <a:ext cx="95523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업무연계</a:t>
            </a:r>
            <a:endParaRPr lang="ko-KR" altLang="en-US" sz="105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26984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763665" y="604670"/>
            <a:ext cx="7930108" cy="4370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8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건보공단</a:t>
            </a:r>
            <a:r>
              <a:rPr lang="ko-KR" altLang="en-US" sz="28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및 </a:t>
            </a:r>
            <a:r>
              <a:rPr lang="ko-KR" altLang="en-US" sz="28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심평원</a:t>
            </a:r>
            <a:r>
              <a:rPr lang="ko-KR" altLang="en-US" sz="28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에 대한 국민 인식과 여론</a:t>
            </a:r>
            <a:endParaRPr lang="en-US" sz="28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27282" y="1499695"/>
            <a:ext cx="8296581" cy="3754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200000"/>
              </a:lnSpc>
            </a:pPr>
            <a:r>
              <a:rPr lang="ko-KR" altLang="en-US" sz="1700" dirty="0" smtClean="0">
                <a:latin typeface="+mn-ea"/>
              </a:rPr>
              <a:t>건강보험에 대한 </a:t>
            </a:r>
            <a:r>
              <a:rPr lang="ko-KR" altLang="en-US" sz="1700" b="1" dirty="0" smtClean="0">
                <a:solidFill>
                  <a:srgbClr val="C00000"/>
                </a:solidFill>
                <a:latin typeface="+mn-ea"/>
              </a:rPr>
              <a:t>「필요성」</a:t>
            </a:r>
            <a:r>
              <a:rPr lang="ko-KR" altLang="en-US" sz="1700" dirty="0" smtClean="0">
                <a:latin typeface="+mn-ea"/>
              </a:rPr>
              <a:t>과 </a:t>
            </a:r>
            <a:r>
              <a:rPr lang="ko-KR" altLang="en-US" sz="1700" b="1" dirty="0" smtClean="0">
                <a:solidFill>
                  <a:srgbClr val="C00000"/>
                </a:solidFill>
                <a:latin typeface="+mn-ea"/>
              </a:rPr>
              <a:t>「만족도」</a:t>
            </a:r>
            <a:r>
              <a:rPr lang="ko-KR" altLang="en-US" sz="1700" dirty="0" smtClean="0">
                <a:latin typeface="+mn-ea"/>
              </a:rPr>
              <a:t>는 높은 편이나</a:t>
            </a:r>
            <a:r>
              <a:rPr lang="en-US" altLang="ko-KR" sz="1700" dirty="0" smtClean="0">
                <a:latin typeface="+mn-ea"/>
              </a:rPr>
              <a:t>, </a:t>
            </a:r>
            <a:r>
              <a:rPr lang="ko-KR" altLang="en-US" sz="1700" dirty="0" smtClean="0">
                <a:latin typeface="+mn-ea"/>
              </a:rPr>
              <a:t>국민을 </a:t>
            </a:r>
            <a:r>
              <a:rPr lang="en-US" altLang="ko-KR" sz="1700" dirty="0" smtClean="0">
                <a:latin typeface="+mn-ea"/>
              </a:rPr>
              <a:t>‘</a:t>
            </a:r>
            <a:r>
              <a:rPr lang="ko-KR" altLang="en-US" sz="1700" dirty="0" smtClean="0">
                <a:latin typeface="+mn-ea"/>
              </a:rPr>
              <a:t>乙</a:t>
            </a:r>
            <a:r>
              <a:rPr lang="en-US" altLang="ko-KR" sz="1700" dirty="0" smtClean="0">
                <a:latin typeface="+mn-ea"/>
              </a:rPr>
              <a:t>’</a:t>
            </a:r>
            <a:r>
              <a:rPr lang="ko-KR" altLang="en-US" sz="1700" dirty="0" smtClean="0">
                <a:latin typeface="+mn-ea"/>
              </a:rPr>
              <a:t>취급 불만 증가</a:t>
            </a:r>
            <a:endParaRPr lang="en-US" altLang="ko-KR" sz="1700" dirty="0" smtClean="0">
              <a:latin typeface="+mn-ea"/>
            </a:endParaRPr>
          </a:p>
          <a:p>
            <a:pPr fontAlgn="base">
              <a:lnSpc>
                <a:spcPct val="200000"/>
              </a:lnSpc>
            </a:pPr>
            <a:r>
              <a:rPr lang="ko-KR" altLang="en-US" sz="1700" dirty="0" smtClean="0">
                <a:latin typeface="+mn-ea"/>
              </a:rPr>
              <a:t>건강보험료 관련 민원이 속출</a:t>
            </a:r>
            <a:r>
              <a:rPr lang="en-US" altLang="ko-KR" sz="1700" dirty="0" smtClean="0">
                <a:latin typeface="+mn-ea"/>
              </a:rPr>
              <a:t>(</a:t>
            </a:r>
            <a:r>
              <a:rPr lang="ko-KR" altLang="en-US" sz="1700" dirty="0" smtClean="0">
                <a:latin typeface="+mn-ea"/>
              </a:rPr>
              <a:t>年 </a:t>
            </a:r>
            <a:r>
              <a:rPr lang="en-US" altLang="ko-KR" sz="1700" dirty="0" smtClean="0">
                <a:latin typeface="+mn-ea"/>
              </a:rPr>
              <a:t>7</a:t>
            </a:r>
            <a:r>
              <a:rPr lang="ko-KR" altLang="en-US" sz="1700" dirty="0" smtClean="0">
                <a:latin typeface="+mn-ea"/>
              </a:rPr>
              <a:t>천만 건</a:t>
            </a:r>
            <a:r>
              <a:rPr lang="en-US" altLang="ko-KR" sz="1700" dirty="0" smtClean="0">
                <a:latin typeface="+mn-ea"/>
              </a:rPr>
              <a:t>), </a:t>
            </a:r>
            <a:r>
              <a:rPr lang="ko-KR" altLang="en-US" sz="1700" b="1" dirty="0" smtClean="0">
                <a:solidFill>
                  <a:srgbClr val="C00000"/>
                </a:solidFill>
                <a:latin typeface="+mn-ea"/>
              </a:rPr>
              <a:t>「공정성</a:t>
            </a:r>
            <a:r>
              <a:rPr lang="en-US" altLang="ko-KR" sz="1700" b="1" dirty="0" smtClean="0">
                <a:solidFill>
                  <a:srgbClr val="C00000"/>
                </a:solidFill>
                <a:latin typeface="+mn-ea"/>
              </a:rPr>
              <a:t>·</a:t>
            </a:r>
            <a:r>
              <a:rPr lang="ko-KR" altLang="en-US" sz="1700" b="1" dirty="0" smtClean="0">
                <a:solidFill>
                  <a:srgbClr val="C00000"/>
                </a:solidFill>
                <a:latin typeface="+mn-ea"/>
              </a:rPr>
              <a:t>형평성」</a:t>
            </a:r>
            <a:r>
              <a:rPr lang="ko-KR" altLang="en-US" sz="1700" dirty="0" smtClean="0">
                <a:latin typeface="+mn-ea"/>
              </a:rPr>
              <a:t>에 대한 불신이 높음</a:t>
            </a:r>
            <a:endParaRPr lang="en-US" altLang="ko-KR" sz="1700" dirty="0" smtClean="0">
              <a:latin typeface="+mn-ea"/>
            </a:endParaRPr>
          </a:p>
          <a:p>
            <a:pPr fontAlgn="base">
              <a:lnSpc>
                <a:spcPct val="200000"/>
              </a:lnSpc>
            </a:pPr>
            <a:r>
              <a:rPr lang="ko-KR" altLang="en-US" sz="1700" dirty="0" smtClean="0">
                <a:latin typeface="+mn-ea"/>
              </a:rPr>
              <a:t>공단과 심평원 간의 대립과 갈등</a:t>
            </a:r>
            <a:r>
              <a:rPr lang="en-US" altLang="ko-KR" sz="1700" dirty="0" smtClean="0">
                <a:latin typeface="+mn-ea"/>
              </a:rPr>
              <a:t>, </a:t>
            </a:r>
            <a:r>
              <a:rPr lang="ko-KR" altLang="en-US" sz="1700" dirty="0" smtClean="0">
                <a:latin typeface="+mn-ea"/>
              </a:rPr>
              <a:t>지나친 견제와 경쟁에 대한 우려의 시선</a:t>
            </a:r>
            <a:endParaRPr lang="en-US" altLang="ko-KR" sz="1700" dirty="0" smtClean="0">
              <a:latin typeface="+mn-ea"/>
            </a:endParaRPr>
          </a:p>
          <a:p>
            <a:pPr fontAlgn="base">
              <a:lnSpc>
                <a:spcPct val="200000"/>
              </a:lnSpc>
            </a:pPr>
            <a:r>
              <a:rPr lang="ko-KR" altLang="en-US" sz="1700" dirty="0" smtClean="0">
                <a:latin typeface="+mn-ea"/>
              </a:rPr>
              <a:t>건강보험 적용제외자</a:t>
            </a:r>
            <a:r>
              <a:rPr lang="en-US" altLang="ko-KR" sz="1700" dirty="0" smtClean="0">
                <a:latin typeface="+mn-ea"/>
              </a:rPr>
              <a:t>, </a:t>
            </a:r>
            <a:r>
              <a:rPr lang="ko-KR" altLang="en-US" sz="1700" dirty="0" err="1" smtClean="0">
                <a:latin typeface="+mn-ea"/>
              </a:rPr>
              <a:t>생계형</a:t>
            </a:r>
            <a:r>
              <a:rPr lang="ko-KR" altLang="en-US" sz="1700" dirty="0" smtClean="0">
                <a:latin typeface="+mn-ea"/>
              </a:rPr>
              <a:t> 체납자 등 </a:t>
            </a:r>
            <a:r>
              <a:rPr lang="ko-KR" altLang="en-US" sz="1700" b="1" dirty="0" smtClean="0">
                <a:solidFill>
                  <a:srgbClr val="C00000"/>
                </a:solidFill>
                <a:latin typeface="+mn-ea"/>
              </a:rPr>
              <a:t>「사각지대」 </a:t>
            </a:r>
            <a:r>
              <a:rPr lang="ko-KR" altLang="en-US" sz="1700" dirty="0" smtClean="0">
                <a:latin typeface="+mn-ea"/>
              </a:rPr>
              <a:t>해소방안 제시에 소극적</a:t>
            </a:r>
            <a:endParaRPr lang="en-US" altLang="ko-KR" sz="1700" dirty="0" smtClean="0">
              <a:latin typeface="+mn-ea"/>
            </a:endParaRPr>
          </a:p>
          <a:p>
            <a:pPr fontAlgn="base">
              <a:lnSpc>
                <a:spcPct val="200000"/>
              </a:lnSpc>
            </a:pPr>
            <a:r>
              <a:rPr lang="ko-KR" altLang="en-US" sz="1700" dirty="0" smtClean="0">
                <a:latin typeface="+mn-ea"/>
              </a:rPr>
              <a:t>건강보험 부과</a:t>
            </a:r>
            <a:r>
              <a:rPr lang="en-US" altLang="ko-KR" sz="1700" dirty="0" smtClean="0">
                <a:latin typeface="+mn-ea"/>
              </a:rPr>
              <a:t>·</a:t>
            </a:r>
            <a:r>
              <a:rPr lang="ko-KR" altLang="en-US" sz="1700" dirty="0" smtClean="0">
                <a:latin typeface="+mn-ea"/>
              </a:rPr>
              <a:t>징수</a:t>
            </a:r>
            <a:r>
              <a:rPr lang="en-US" altLang="ko-KR" sz="1700" dirty="0" smtClean="0">
                <a:latin typeface="+mn-ea"/>
              </a:rPr>
              <a:t>·</a:t>
            </a:r>
            <a:r>
              <a:rPr lang="ko-KR" altLang="en-US" sz="1700" dirty="0" smtClean="0">
                <a:latin typeface="+mn-ea"/>
              </a:rPr>
              <a:t>심사</a:t>
            </a:r>
            <a:r>
              <a:rPr lang="en-US" altLang="ko-KR" sz="1700" dirty="0" smtClean="0">
                <a:latin typeface="+mn-ea"/>
              </a:rPr>
              <a:t>·</a:t>
            </a:r>
            <a:r>
              <a:rPr lang="ko-KR" altLang="en-US" sz="1700" dirty="0" smtClean="0">
                <a:latin typeface="+mn-ea"/>
              </a:rPr>
              <a:t>청구에 대한 對국민 이해</a:t>
            </a:r>
            <a:r>
              <a:rPr lang="en-US" altLang="ko-KR" sz="1700" dirty="0" smtClean="0">
                <a:latin typeface="+mn-ea"/>
              </a:rPr>
              <a:t>·</a:t>
            </a:r>
            <a:r>
              <a:rPr lang="ko-KR" altLang="en-US" sz="1700" dirty="0" smtClean="0">
                <a:latin typeface="+mn-ea"/>
              </a:rPr>
              <a:t>홍보와 설득 부족</a:t>
            </a:r>
            <a:endParaRPr lang="en-US" altLang="ko-KR" sz="1700" dirty="0" smtClean="0">
              <a:latin typeface="+mn-ea"/>
            </a:endParaRPr>
          </a:p>
          <a:p>
            <a:pPr fontAlgn="base">
              <a:lnSpc>
                <a:spcPct val="200000"/>
              </a:lnSpc>
            </a:pPr>
            <a:r>
              <a:rPr lang="ko-KR" altLang="en-US" sz="1700" dirty="0" err="1" smtClean="0">
                <a:latin typeface="+mn-ea"/>
              </a:rPr>
              <a:t>베이비부머</a:t>
            </a:r>
            <a:r>
              <a:rPr lang="ko-KR" altLang="en-US" sz="1700" dirty="0" smtClean="0">
                <a:latin typeface="+mn-ea"/>
              </a:rPr>
              <a:t> 세대의 퇴직 이후 건강보험료 </a:t>
            </a:r>
            <a:r>
              <a:rPr lang="ko-KR" altLang="en-US" sz="1700" dirty="0" err="1" smtClean="0">
                <a:latin typeface="+mn-ea"/>
              </a:rPr>
              <a:t>과부담</a:t>
            </a:r>
            <a:r>
              <a:rPr lang="ko-KR" altLang="en-US" sz="1700" dirty="0" smtClean="0">
                <a:latin typeface="+mn-ea"/>
              </a:rPr>
              <a:t> 등 관련 대책 미흡</a:t>
            </a:r>
            <a:endParaRPr lang="en-US" altLang="ko-KR" sz="1700" dirty="0" smtClean="0">
              <a:latin typeface="+mn-ea"/>
            </a:endParaRPr>
          </a:p>
          <a:p>
            <a:pPr fontAlgn="base">
              <a:lnSpc>
                <a:spcPct val="200000"/>
              </a:lnSpc>
            </a:pPr>
            <a:r>
              <a:rPr lang="ko-KR" altLang="en-US" sz="1700" dirty="0" smtClean="0">
                <a:latin typeface="+mn-ea"/>
              </a:rPr>
              <a:t>兩 기관의 건강보험 관련 </a:t>
            </a:r>
            <a:r>
              <a:rPr lang="ko-KR" altLang="en-US" sz="1700" b="1" dirty="0" smtClean="0">
                <a:solidFill>
                  <a:srgbClr val="C00000"/>
                </a:solidFill>
                <a:latin typeface="+mn-ea"/>
              </a:rPr>
              <a:t>「수익」</a:t>
            </a:r>
            <a:r>
              <a:rPr lang="ko-KR" altLang="en-US" sz="1700" dirty="0" smtClean="0">
                <a:latin typeface="+mn-ea"/>
              </a:rPr>
              <a:t>에 대한 자의</a:t>
            </a:r>
            <a:r>
              <a:rPr lang="ko-KR" altLang="en-US" sz="1700" dirty="0">
                <a:latin typeface="+mn-ea"/>
              </a:rPr>
              <a:t>적</a:t>
            </a:r>
            <a:r>
              <a:rPr lang="ko-KR" altLang="en-US" sz="1700" dirty="0" smtClean="0">
                <a:latin typeface="+mn-ea"/>
              </a:rPr>
              <a:t> 사용 등 비판도 증가 </a:t>
            </a:r>
            <a:endParaRPr lang="ko-KR" altLang="en-US" sz="1700" b="1" dirty="0">
              <a:solidFill>
                <a:srgbClr val="C00000"/>
              </a:solidFill>
              <a:latin typeface="+mn-ea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943953" y="5941604"/>
            <a:ext cx="789856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국민 규제기관 아닌 봉사기관으로 거듭나는 건강보험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국가기관 돼야</a:t>
            </a:r>
            <a:endParaRPr lang="ko-KR" altLang="en-US" sz="2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6" name="오른쪽 화살표 25"/>
          <p:cNvSpPr/>
          <p:nvPr/>
        </p:nvSpPr>
        <p:spPr>
          <a:xfrm>
            <a:off x="345594" y="6062610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31" name="그룹 30"/>
          <p:cNvGrpSpPr/>
          <p:nvPr/>
        </p:nvGrpSpPr>
        <p:grpSpPr>
          <a:xfrm>
            <a:off x="-8274" y="-81403"/>
            <a:ext cx="1120288" cy="1236229"/>
            <a:chOff x="-8274" y="-81403"/>
            <a:chExt cx="1120288" cy="1236229"/>
          </a:xfrm>
        </p:grpSpPr>
        <p:grpSp>
          <p:nvGrpSpPr>
            <p:cNvPr id="32" name="Group 50"/>
            <p:cNvGrpSpPr/>
            <p:nvPr/>
          </p:nvGrpSpPr>
          <p:grpSpPr>
            <a:xfrm>
              <a:off x="-1122" y="-81403"/>
              <a:ext cx="1113136" cy="1236229"/>
              <a:chOff x="-9097" y="-96310"/>
              <a:chExt cx="974935" cy="1025474"/>
            </a:xfrm>
          </p:grpSpPr>
          <p:sp>
            <p:nvSpPr>
              <p:cNvPr id="34" name="Diagonal Stripe 51"/>
              <p:cNvSpPr/>
              <p:nvPr/>
            </p:nvSpPr>
            <p:spPr>
              <a:xfrm>
                <a:off x="-7091" y="-23336"/>
                <a:ext cx="972929" cy="952500"/>
              </a:xfrm>
              <a:prstGeom prst="diagStripe">
                <a:avLst>
                  <a:gd name="adj" fmla="val 61073"/>
                </a:avLst>
              </a:pr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3400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12700" dir="5400000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5" name="TextBox 34"/>
              <p:cNvSpPr txBox="1"/>
              <p:nvPr/>
            </p:nvSpPr>
            <p:spPr>
              <a:xfrm rot="18886281">
                <a:off x="58852" y="187690"/>
                <a:ext cx="770174" cy="2021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7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국회의원</a:t>
                </a:r>
                <a:r>
                  <a:rPr lang="ko-KR" altLang="en-US" sz="9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 이명수</a:t>
                </a:r>
                <a:endParaRPr lang="en-US" sz="900" dirty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endParaRPr>
              </a:p>
            </p:txBody>
          </p:sp>
          <p:cxnSp>
            <p:nvCxnSpPr>
              <p:cNvPr id="36" name="Straight Connector 53"/>
              <p:cNvCxnSpPr/>
              <p:nvPr/>
            </p:nvCxnSpPr>
            <p:spPr>
              <a:xfrm flipH="1">
                <a:off x="-9097" y="-22860"/>
                <a:ext cx="623270" cy="623272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54"/>
              <p:cNvCxnSpPr/>
              <p:nvPr/>
            </p:nvCxnSpPr>
            <p:spPr>
              <a:xfrm flipH="1">
                <a:off x="-7091" y="-22860"/>
                <a:ext cx="921493" cy="893213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3" name="그림 32"/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66808">
              <a:off x="-8274" y="724510"/>
              <a:ext cx="252257" cy="120873"/>
            </a:xfrm>
            <a:prstGeom prst="rect">
              <a:avLst/>
            </a:prstGeom>
          </p:spPr>
        </p:pic>
      </p:grpSp>
      <p:pic>
        <p:nvPicPr>
          <p:cNvPr id="27" name="그림 26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3104" y="116632"/>
            <a:ext cx="267142" cy="257486"/>
          </a:xfrm>
          <a:prstGeom prst="rect">
            <a:avLst/>
          </a:prstGeom>
        </p:spPr>
      </p:pic>
      <p:pic>
        <p:nvPicPr>
          <p:cNvPr id="28" name="그림 27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9078" y="116632"/>
            <a:ext cx="260002" cy="257486"/>
          </a:xfrm>
          <a:prstGeom prst="rect">
            <a:avLst/>
          </a:prstGeom>
        </p:spPr>
      </p:pic>
      <p:grpSp>
        <p:nvGrpSpPr>
          <p:cNvPr id="15" name="Group 7"/>
          <p:cNvGrpSpPr/>
          <p:nvPr/>
        </p:nvGrpSpPr>
        <p:grpSpPr>
          <a:xfrm>
            <a:off x="294870" y="1648066"/>
            <a:ext cx="414987" cy="414986"/>
            <a:chOff x="349648" y="2204865"/>
            <a:chExt cx="518790" cy="518788"/>
          </a:xfrm>
        </p:grpSpPr>
        <p:sp>
          <p:nvSpPr>
            <p:cNvPr id="16" name="Oval 55"/>
            <p:cNvSpPr/>
            <p:nvPr>
              <p:custDataLst>
                <p:tags r:id="rId13"/>
              </p:custDataLst>
            </p:nvPr>
          </p:nvSpPr>
          <p:spPr>
            <a:xfrm>
              <a:off x="349648" y="2204865"/>
              <a:ext cx="518790" cy="518788"/>
            </a:xfrm>
            <a:prstGeom prst="ellipse">
              <a:avLst/>
            </a:prstGeom>
            <a:gradFill flip="none" rotWithShape="1">
              <a:gsLst>
                <a:gs pos="79000">
                  <a:schemeClr val="bg1">
                    <a:lumMod val="50000"/>
                  </a:schemeClr>
                </a:gs>
                <a:gs pos="19000">
                  <a:schemeClr val="bg1">
                    <a:lumMod val="80000"/>
                  </a:schemeClr>
                </a:gs>
                <a:gs pos="47000">
                  <a:schemeClr val="bg1">
                    <a:lumMod val="95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  <a:effectLst>
              <a:outerShdw blurRad="38100" dist="127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17" name="Oval 56"/>
            <p:cNvSpPr/>
            <p:nvPr>
              <p:custDataLst>
                <p:tags r:id="rId14"/>
              </p:custDataLst>
            </p:nvPr>
          </p:nvSpPr>
          <p:spPr>
            <a:xfrm>
              <a:off x="391262" y="2246478"/>
              <a:ext cx="435563" cy="435563"/>
            </a:xfrm>
            <a:prstGeom prst="ellipse">
              <a:avLst/>
            </a:prstGeom>
            <a:solidFill>
              <a:srgbClr val="0D65AC"/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300" dirty="0">
                  <a:solidFill>
                    <a:schemeClr val="bg1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1</a:t>
              </a:r>
            </a:p>
          </p:txBody>
        </p:sp>
      </p:grpSp>
      <p:grpSp>
        <p:nvGrpSpPr>
          <p:cNvPr id="18" name="Group 7"/>
          <p:cNvGrpSpPr/>
          <p:nvPr/>
        </p:nvGrpSpPr>
        <p:grpSpPr>
          <a:xfrm>
            <a:off x="271940" y="2161291"/>
            <a:ext cx="414987" cy="414986"/>
            <a:chOff x="349648" y="2204865"/>
            <a:chExt cx="518790" cy="518788"/>
          </a:xfrm>
        </p:grpSpPr>
        <p:sp>
          <p:nvSpPr>
            <p:cNvPr id="19" name="Oval 55"/>
            <p:cNvSpPr/>
            <p:nvPr>
              <p:custDataLst>
                <p:tags r:id="rId11"/>
              </p:custDataLst>
            </p:nvPr>
          </p:nvSpPr>
          <p:spPr>
            <a:xfrm>
              <a:off x="349648" y="2204865"/>
              <a:ext cx="518790" cy="518788"/>
            </a:xfrm>
            <a:prstGeom prst="ellipse">
              <a:avLst/>
            </a:prstGeom>
            <a:gradFill flip="none" rotWithShape="1">
              <a:gsLst>
                <a:gs pos="79000">
                  <a:schemeClr val="bg1">
                    <a:lumMod val="50000"/>
                  </a:schemeClr>
                </a:gs>
                <a:gs pos="19000">
                  <a:schemeClr val="bg1">
                    <a:lumMod val="80000"/>
                  </a:schemeClr>
                </a:gs>
                <a:gs pos="47000">
                  <a:schemeClr val="bg1">
                    <a:lumMod val="95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  <a:effectLst>
              <a:outerShdw blurRad="38100" dist="127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20" name="Oval 56"/>
            <p:cNvSpPr/>
            <p:nvPr>
              <p:custDataLst>
                <p:tags r:id="rId12"/>
              </p:custDataLst>
            </p:nvPr>
          </p:nvSpPr>
          <p:spPr>
            <a:xfrm>
              <a:off x="391262" y="2246478"/>
              <a:ext cx="435563" cy="435563"/>
            </a:xfrm>
            <a:prstGeom prst="ellipse">
              <a:avLst/>
            </a:prstGeom>
            <a:solidFill>
              <a:srgbClr val="0D65AC"/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300" dirty="0" smtClean="0">
                  <a:solidFill>
                    <a:schemeClr val="bg1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2</a:t>
              </a:r>
              <a:endParaRPr lang="en-US" sz="1300" dirty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</p:grpSp>
      <p:grpSp>
        <p:nvGrpSpPr>
          <p:cNvPr id="21" name="Group 7"/>
          <p:cNvGrpSpPr/>
          <p:nvPr/>
        </p:nvGrpSpPr>
        <p:grpSpPr>
          <a:xfrm>
            <a:off x="271940" y="2717126"/>
            <a:ext cx="414987" cy="414986"/>
            <a:chOff x="349648" y="2204865"/>
            <a:chExt cx="518790" cy="518788"/>
          </a:xfrm>
        </p:grpSpPr>
        <p:sp>
          <p:nvSpPr>
            <p:cNvPr id="22" name="Oval 55"/>
            <p:cNvSpPr/>
            <p:nvPr>
              <p:custDataLst>
                <p:tags r:id="rId9"/>
              </p:custDataLst>
            </p:nvPr>
          </p:nvSpPr>
          <p:spPr>
            <a:xfrm>
              <a:off x="349648" y="2204865"/>
              <a:ext cx="518790" cy="518788"/>
            </a:xfrm>
            <a:prstGeom prst="ellipse">
              <a:avLst/>
            </a:prstGeom>
            <a:gradFill flip="none" rotWithShape="1">
              <a:gsLst>
                <a:gs pos="79000">
                  <a:schemeClr val="bg1">
                    <a:lumMod val="50000"/>
                  </a:schemeClr>
                </a:gs>
                <a:gs pos="19000">
                  <a:schemeClr val="bg1">
                    <a:lumMod val="80000"/>
                  </a:schemeClr>
                </a:gs>
                <a:gs pos="47000">
                  <a:schemeClr val="bg1">
                    <a:lumMod val="95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  <a:effectLst>
              <a:outerShdw blurRad="38100" dist="127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23" name="Oval 56"/>
            <p:cNvSpPr/>
            <p:nvPr>
              <p:custDataLst>
                <p:tags r:id="rId10"/>
              </p:custDataLst>
            </p:nvPr>
          </p:nvSpPr>
          <p:spPr>
            <a:xfrm>
              <a:off x="391262" y="2246478"/>
              <a:ext cx="435563" cy="435563"/>
            </a:xfrm>
            <a:prstGeom prst="ellipse">
              <a:avLst/>
            </a:prstGeom>
            <a:solidFill>
              <a:srgbClr val="0D65AC"/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300" dirty="0" smtClean="0">
                  <a:solidFill>
                    <a:schemeClr val="bg1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3</a:t>
              </a:r>
              <a:endParaRPr lang="en-US" sz="1300" dirty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</p:grpSp>
      <p:grpSp>
        <p:nvGrpSpPr>
          <p:cNvPr id="24" name="Group 7"/>
          <p:cNvGrpSpPr/>
          <p:nvPr/>
        </p:nvGrpSpPr>
        <p:grpSpPr>
          <a:xfrm>
            <a:off x="296374" y="3214678"/>
            <a:ext cx="414987" cy="414986"/>
            <a:chOff x="349648" y="2204865"/>
            <a:chExt cx="518790" cy="518788"/>
          </a:xfrm>
        </p:grpSpPr>
        <p:sp>
          <p:nvSpPr>
            <p:cNvPr id="25" name="Oval 55"/>
            <p:cNvSpPr/>
            <p:nvPr>
              <p:custDataLst>
                <p:tags r:id="rId7"/>
              </p:custDataLst>
            </p:nvPr>
          </p:nvSpPr>
          <p:spPr>
            <a:xfrm>
              <a:off x="349648" y="2204865"/>
              <a:ext cx="518790" cy="518788"/>
            </a:xfrm>
            <a:prstGeom prst="ellipse">
              <a:avLst/>
            </a:prstGeom>
            <a:gradFill flip="none" rotWithShape="1">
              <a:gsLst>
                <a:gs pos="79000">
                  <a:schemeClr val="bg1">
                    <a:lumMod val="50000"/>
                  </a:schemeClr>
                </a:gs>
                <a:gs pos="19000">
                  <a:schemeClr val="bg1">
                    <a:lumMod val="80000"/>
                  </a:schemeClr>
                </a:gs>
                <a:gs pos="47000">
                  <a:schemeClr val="bg1">
                    <a:lumMod val="95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  <a:effectLst>
              <a:outerShdw blurRad="38100" dist="127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29" name="Oval 56"/>
            <p:cNvSpPr/>
            <p:nvPr>
              <p:custDataLst>
                <p:tags r:id="rId8"/>
              </p:custDataLst>
            </p:nvPr>
          </p:nvSpPr>
          <p:spPr>
            <a:xfrm>
              <a:off x="391262" y="2246478"/>
              <a:ext cx="435563" cy="435563"/>
            </a:xfrm>
            <a:prstGeom prst="ellipse">
              <a:avLst/>
            </a:prstGeom>
            <a:solidFill>
              <a:srgbClr val="0D65AC"/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300" dirty="0" smtClean="0">
                  <a:solidFill>
                    <a:schemeClr val="bg1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4</a:t>
              </a:r>
              <a:endParaRPr lang="en-US" sz="1300" dirty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</p:grpSp>
      <p:grpSp>
        <p:nvGrpSpPr>
          <p:cNvPr id="30" name="Group 7"/>
          <p:cNvGrpSpPr/>
          <p:nvPr/>
        </p:nvGrpSpPr>
        <p:grpSpPr>
          <a:xfrm>
            <a:off x="289022" y="3747084"/>
            <a:ext cx="414987" cy="414986"/>
            <a:chOff x="349648" y="2204865"/>
            <a:chExt cx="518790" cy="518788"/>
          </a:xfrm>
        </p:grpSpPr>
        <p:sp>
          <p:nvSpPr>
            <p:cNvPr id="38" name="Oval 55"/>
            <p:cNvSpPr/>
            <p:nvPr>
              <p:custDataLst>
                <p:tags r:id="rId5"/>
              </p:custDataLst>
            </p:nvPr>
          </p:nvSpPr>
          <p:spPr>
            <a:xfrm>
              <a:off x="349648" y="2204865"/>
              <a:ext cx="518790" cy="518788"/>
            </a:xfrm>
            <a:prstGeom prst="ellipse">
              <a:avLst/>
            </a:prstGeom>
            <a:gradFill flip="none" rotWithShape="1">
              <a:gsLst>
                <a:gs pos="79000">
                  <a:schemeClr val="bg1">
                    <a:lumMod val="50000"/>
                  </a:schemeClr>
                </a:gs>
                <a:gs pos="19000">
                  <a:schemeClr val="bg1">
                    <a:lumMod val="80000"/>
                  </a:schemeClr>
                </a:gs>
                <a:gs pos="47000">
                  <a:schemeClr val="bg1">
                    <a:lumMod val="95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  <a:effectLst>
              <a:outerShdw blurRad="38100" dist="127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39" name="Oval 56"/>
            <p:cNvSpPr/>
            <p:nvPr>
              <p:custDataLst>
                <p:tags r:id="rId6"/>
              </p:custDataLst>
            </p:nvPr>
          </p:nvSpPr>
          <p:spPr>
            <a:xfrm>
              <a:off x="391262" y="2246478"/>
              <a:ext cx="435563" cy="435563"/>
            </a:xfrm>
            <a:prstGeom prst="ellipse">
              <a:avLst/>
            </a:prstGeom>
            <a:solidFill>
              <a:srgbClr val="0D65AC"/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300" dirty="0" smtClean="0">
                  <a:solidFill>
                    <a:schemeClr val="bg1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5</a:t>
              </a:r>
              <a:endParaRPr lang="en-US" sz="1300" dirty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</p:grpSp>
      <p:grpSp>
        <p:nvGrpSpPr>
          <p:cNvPr id="40" name="Group 7"/>
          <p:cNvGrpSpPr/>
          <p:nvPr/>
        </p:nvGrpSpPr>
        <p:grpSpPr>
          <a:xfrm>
            <a:off x="288173" y="4275686"/>
            <a:ext cx="414987" cy="414986"/>
            <a:chOff x="349648" y="2204865"/>
            <a:chExt cx="518790" cy="518788"/>
          </a:xfrm>
        </p:grpSpPr>
        <p:sp>
          <p:nvSpPr>
            <p:cNvPr id="41" name="Oval 55"/>
            <p:cNvSpPr/>
            <p:nvPr>
              <p:custDataLst>
                <p:tags r:id="rId3"/>
              </p:custDataLst>
            </p:nvPr>
          </p:nvSpPr>
          <p:spPr>
            <a:xfrm>
              <a:off x="349648" y="2204865"/>
              <a:ext cx="518790" cy="518788"/>
            </a:xfrm>
            <a:prstGeom prst="ellipse">
              <a:avLst/>
            </a:prstGeom>
            <a:gradFill flip="none" rotWithShape="1">
              <a:gsLst>
                <a:gs pos="79000">
                  <a:schemeClr val="bg1">
                    <a:lumMod val="50000"/>
                  </a:schemeClr>
                </a:gs>
                <a:gs pos="19000">
                  <a:schemeClr val="bg1">
                    <a:lumMod val="80000"/>
                  </a:schemeClr>
                </a:gs>
                <a:gs pos="47000">
                  <a:schemeClr val="bg1">
                    <a:lumMod val="95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  <a:effectLst>
              <a:outerShdw blurRad="38100" dist="127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43" name="Oval 56"/>
            <p:cNvSpPr/>
            <p:nvPr>
              <p:custDataLst>
                <p:tags r:id="rId4"/>
              </p:custDataLst>
            </p:nvPr>
          </p:nvSpPr>
          <p:spPr>
            <a:xfrm>
              <a:off x="391262" y="2246478"/>
              <a:ext cx="435563" cy="435563"/>
            </a:xfrm>
            <a:prstGeom prst="ellipse">
              <a:avLst/>
            </a:prstGeom>
            <a:solidFill>
              <a:srgbClr val="0D65AC"/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300" dirty="0" smtClean="0">
                  <a:solidFill>
                    <a:schemeClr val="bg1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6</a:t>
              </a:r>
              <a:endParaRPr lang="en-US" sz="1300" dirty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</p:grpSp>
      <p:grpSp>
        <p:nvGrpSpPr>
          <p:cNvPr id="44" name="Group 7"/>
          <p:cNvGrpSpPr/>
          <p:nvPr/>
        </p:nvGrpSpPr>
        <p:grpSpPr>
          <a:xfrm>
            <a:off x="288174" y="4790954"/>
            <a:ext cx="414987" cy="414986"/>
            <a:chOff x="349648" y="2204865"/>
            <a:chExt cx="518790" cy="518788"/>
          </a:xfrm>
        </p:grpSpPr>
        <p:sp>
          <p:nvSpPr>
            <p:cNvPr id="45" name="Oval 55"/>
            <p:cNvSpPr/>
            <p:nvPr>
              <p:custDataLst>
                <p:tags r:id="rId1"/>
              </p:custDataLst>
            </p:nvPr>
          </p:nvSpPr>
          <p:spPr>
            <a:xfrm>
              <a:off x="349648" y="2204865"/>
              <a:ext cx="518790" cy="518788"/>
            </a:xfrm>
            <a:prstGeom prst="ellipse">
              <a:avLst/>
            </a:prstGeom>
            <a:gradFill flip="none" rotWithShape="1">
              <a:gsLst>
                <a:gs pos="79000">
                  <a:schemeClr val="bg1">
                    <a:lumMod val="50000"/>
                  </a:schemeClr>
                </a:gs>
                <a:gs pos="19000">
                  <a:schemeClr val="bg1">
                    <a:lumMod val="80000"/>
                  </a:schemeClr>
                </a:gs>
                <a:gs pos="47000">
                  <a:schemeClr val="bg1">
                    <a:lumMod val="95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  <a:effectLst>
              <a:outerShdw blurRad="38100" dist="127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46" name="Oval 56"/>
            <p:cNvSpPr/>
            <p:nvPr>
              <p:custDataLst>
                <p:tags r:id="rId2"/>
              </p:custDataLst>
            </p:nvPr>
          </p:nvSpPr>
          <p:spPr>
            <a:xfrm>
              <a:off x="391262" y="2246478"/>
              <a:ext cx="435563" cy="435563"/>
            </a:xfrm>
            <a:prstGeom prst="ellipse">
              <a:avLst/>
            </a:prstGeom>
            <a:solidFill>
              <a:srgbClr val="0D65AC"/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300" dirty="0" smtClean="0">
                  <a:solidFill>
                    <a:schemeClr val="bg1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7</a:t>
              </a:r>
              <a:endParaRPr lang="en-US" sz="1300" dirty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586483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1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1000" tmFilter="0, 0; .2, .5; .8, .5; 1, 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" dur="500" autoRev="1" fill="hold"/>
                                        <p:tgtEl>
                                          <p:spTgt spid="1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1000" tmFilter="0, 0; .2, .5; .8, .5; 1, 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" dur="500" autoRev="1" fill="hold"/>
                                        <p:tgtEl>
                                          <p:spTgt spid="2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1000" tmFilter="0, 0; .2, .5; .8, .5; 1, 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9" dur="500" autoRev="1" fill="hold"/>
                                        <p:tgtEl>
                                          <p:spTgt spid="2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1000" tmFilter="0, 0; .2, .5; .8, .5; 1, 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3" dur="500" autoRev="1" fill="hold"/>
                                        <p:tgtEl>
                                          <p:spTgt spid="3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0"/>
                            </p:stCondLst>
                            <p:childTnLst>
                              <p:par>
                                <p:cTn id="25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1000" tmFilter="0, 0; .2, .5; .8, .5; 1, 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7" dur="500" autoRev="1" fill="hold"/>
                                        <p:tgtEl>
                                          <p:spTgt spid="4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6000"/>
                            </p:stCondLst>
                            <p:childTnLst>
                              <p:par>
                                <p:cTn id="29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1000" tmFilter="0, 0; .2, .5; .8, .5; 1, 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1" dur="500" autoRev="1" fill="hold"/>
                                        <p:tgtEl>
                                          <p:spTgt spid="4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710499" y="327235"/>
            <a:ext cx="793010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26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건보공단의</a:t>
            </a:r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이미지 쇄신</a:t>
            </a:r>
            <a:endParaRPr lang="en-US" altLang="ko-KR" sz="26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>
              <a:lnSpc>
                <a:spcPct val="150000"/>
              </a:lnSpc>
            </a:pPr>
            <a:r>
              <a:rPr lang="en-US" sz="1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- </a:t>
            </a:r>
            <a:r>
              <a:rPr lang="ko-KR" altLang="en-US" sz="1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국민을 돌보는 따뜻하고 든든한 동반자</a:t>
            </a:r>
            <a:r>
              <a:rPr lang="en-US" altLang="ko-KR" sz="1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partner) -</a:t>
            </a:r>
            <a:endParaRPr lang="en-US" sz="1400" dirty="0" smtClean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43866" y="3789040"/>
            <a:ext cx="8101113" cy="243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&lt;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예 시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&gt;</a:t>
            </a:r>
          </a:p>
          <a:p>
            <a:pPr fontAlgn="base">
              <a:lnSpc>
                <a:spcPct val="20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장기간 체납 없는 「모범 저소득층 및 고액 보험료 납부자」 표창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홍보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장기간 과다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부당청구 없는 「모범 병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의원」 표창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홍보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진료과정상 지원보다 「예방적인」 건강관리체계 지원 확산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-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건강관리 프로그램 보급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건강관련 체육대회 적극 지원 등</a:t>
            </a:r>
            <a:endParaRPr lang="en-US" altLang="ko-KR" sz="14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행정기관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기능과 협업 강화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복지기술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IT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와 접목확대 등</a:t>
            </a:r>
            <a:endParaRPr lang="en-US" altLang="ko-KR" sz="16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grpSp>
        <p:nvGrpSpPr>
          <p:cNvPr id="31" name="그룹 30"/>
          <p:cNvGrpSpPr/>
          <p:nvPr/>
        </p:nvGrpSpPr>
        <p:grpSpPr>
          <a:xfrm>
            <a:off x="-8274" y="-81403"/>
            <a:ext cx="1120288" cy="1236229"/>
            <a:chOff x="-8274" y="-81403"/>
            <a:chExt cx="1120288" cy="1236229"/>
          </a:xfrm>
        </p:grpSpPr>
        <p:grpSp>
          <p:nvGrpSpPr>
            <p:cNvPr id="32" name="Group 50"/>
            <p:cNvGrpSpPr/>
            <p:nvPr/>
          </p:nvGrpSpPr>
          <p:grpSpPr>
            <a:xfrm>
              <a:off x="-1122" y="-81403"/>
              <a:ext cx="1113136" cy="1236229"/>
              <a:chOff x="-9097" y="-96310"/>
              <a:chExt cx="974935" cy="1025474"/>
            </a:xfrm>
          </p:grpSpPr>
          <p:sp>
            <p:nvSpPr>
              <p:cNvPr id="34" name="Diagonal Stripe 51"/>
              <p:cNvSpPr/>
              <p:nvPr/>
            </p:nvSpPr>
            <p:spPr>
              <a:xfrm>
                <a:off x="-7091" y="-23336"/>
                <a:ext cx="972929" cy="952500"/>
              </a:xfrm>
              <a:prstGeom prst="diagStripe">
                <a:avLst>
                  <a:gd name="adj" fmla="val 61073"/>
                </a:avLst>
              </a:pr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3400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12700" dir="5400000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5" name="TextBox 34"/>
              <p:cNvSpPr txBox="1"/>
              <p:nvPr/>
            </p:nvSpPr>
            <p:spPr>
              <a:xfrm rot="18886281">
                <a:off x="58852" y="187690"/>
                <a:ext cx="770174" cy="2021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7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국회의원</a:t>
                </a:r>
                <a:r>
                  <a:rPr lang="ko-KR" altLang="en-US" sz="9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 이명수</a:t>
                </a:r>
                <a:endParaRPr lang="en-US" sz="900" dirty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endParaRPr>
              </a:p>
            </p:txBody>
          </p:sp>
          <p:cxnSp>
            <p:nvCxnSpPr>
              <p:cNvPr id="36" name="Straight Connector 53"/>
              <p:cNvCxnSpPr/>
              <p:nvPr/>
            </p:nvCxnSpPr>
            <p:spPr>
              <a:xfrm flipH="1">
                <a:off x="-9097" y="-22860"/>
                <a:ext cx="623270" cy="623272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54"/>
              <p:cNvCxnSpPr/>
              <p:nvPr/>
            </p:nvCxnSpPr>
            <p:spPr>
              <a:xfrm flipH="1">
                <a:off x="-7091" y="-22860"/>
                <a:ext cx="921493" cy="893213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3" name="그림 3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66808">
              <a:off x="-8274" y="724510"/>
              <a:ext cx="252257" cy="120873"/>
            </a:xfrm>
            <a:prstGeom prst="rect">
              <a:avLst/>
            </a:prstGeom>
          </p:spPr>
        </p:pic>
      </p:grpSp>
      <p:pic>
        <p:nvPicPr>
          <p:cNvPr id="15" name="그림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1824" y="132907"/>
            <a:ext cx="966277" cy="388658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367289" y="2867761"/>
            <a:ext cx="620514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400" b="1" spc="3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휴먼고딕" panose="02010504000101010101" pitchFamily="2" charset="-127"/>
                <a:ea typeface="휴먼고딕" panose="02010504000101010101" pitchFamily="2" charset="-127"/>
              </a:rPr>
              <a:t>m</a:t>
            </a:r>
            <a:r>
              <a:rPr lang="en-US" altLang="ko-KR" sz="1400" b="1" spc="3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휴먼고딕" panose="02010504000101010101" pitchFamily="2" charset="-127"/>
                <a:ea typeface="휴먼고딕" panose="02010504000101010101" pitchFamily="2" charset="-127"/>
              </a:rPr>
              <a:t>ore </a:t>
            </a:r>
            <a:r>
              <a:rPr lang="en-US" altLang="ko-KR" sz="1400" b="1" spc="3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휴먼고딕" panose="02010504000101010101" pitchFamily="2" charset="-127"/>
                <a:ea typeface="휴먼고딕" panose="02010504000101010101" pitchFamily="2" charset="-127"/>
              </a:rPr>
              <a:t>service</a:t>
            </a:r>
            <a:r>
              <a:rPr lang="en-US" altLang="ko-KR" sz="1400" b="1" spc="3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휴먼고딕" panose="02010504000101010101" pitchFamily="2" charset="-127"/>
                <a:ea typeface="휴먼고딕" panose="02010504000101010101" pitchFamily="2" charset="-127"/>
              </a:rPr>
              <a:t>, more </a:t>
            </a:r>
            <a:r>
              <a:rPr lang="en-US" altLang="ko-KR" sz="1400" b="1" spc="3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휴먼고딕" panose="02010504000101010101" pitchFamily="2" charset="-127"/>
                <a:ea typeface="휴먼고딕" panose="02010504000101010101" pitchFamily="2" charset="-127"/>
              </a:rPr>
              <a:t>smile</a:t>
            </a:r>
            <a:r>
              <a:rPr lang="en-US" altLang="ko-KR" sz="1400" b="1" spc="3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휴먼고딕" panose="02010504000101010101" pitchFamily="2" charset="-127"/>
                <a:ea typeface="휴먼고딕" panose="02010504000101010101" pitchFamily="2" charset="-127"/>
              </a:rPr>
              <a:t>, more </a:t>
            </a:r>
            <a:r>
              <a:rPr lang="en-US" altLang="ko-KR" sz="1400" b="1" spc="3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휴먼고딕" panose="02010504000101010101" pitchFamily="2" charset="-127"/>
                <a:ea typeface="휴먼고딕" panose="02010504000101010101" pitchFamily="2" charset="-127"/>
              </a:rPr>
              <a:t>study</a:t>
            </a:r>
          </a:p>
          <a:p>
            <a:pPr>
              <a:lnSpc>
                <a:spcPct val="150000"/>
              </a:lnSpc>
            </a:pPr>
            <a:r>
              <a:rPr lang="en-US" altLang="ko-KR" sz="1400" b="1" spc="3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휴먼고딕" panose="02010504000101010101" pitchFamily="2" charset="-127"/>
                <a:ea typeface="휴먼고딕" panose="02010504000101010101" pitchFamily="2" charset="-127"/>
              </a:rPr>
              <a:t>more </a:t>
            </a:r>
            <a:r>
              <a:rPr lang="en-US" altLang="ko-KR" sz="1400" b="1" spc="3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휴먼고딕" panose="02010504000101010101" pitchFamily="2" charset="-127"/>
                <a:ea typeface="휴먼고딕" panose="02010504000101010101" pitchFamily="2" charset="-127"/>
              </a:rPr>
              <a:t>standard</a:t>
            </a:r>
            <a:r>
              <a:rPr lang="en-US" altLang="ko-KR" sz="1400" b="1" spc="3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휴먼고딕" panose="02010504000101010101" pitchFamily="2" charset="-127"/>
                <a:ea typeface="휴먼고딕" panose="02010504000101010101" pitchFamily="2" charset="-127"/>
              </a:rPr>
              <a:t>, more </a:t>
            </a:r>
            <a:r>
              <a:rPr lang="en-US" altLang="ko-KR" sz="1400" b="1" spc="3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휴먼고딕" panose="02010504000101010101" pitchFamily="2" charset="-127"/>
                <a:ea typeface="휴먼고딕" panose="02010504000101010101" pitchFamily="2" charset="-127"/>
              </a:rPr>
              <a:t>smart</a:t>
            </a:r>
            <a:r>
              <a:rPr lang="en-US" altLang="ko-KR" sz="1400" b="1" spc="3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휴먼고딕" panose="02010504000101010101" pitchFamily="2" charset="-127"/>
                <a:ea typeface="휴먼고딕" panose="02010504000101010101" pitchFamily="2" charset="-127"/>
              </a:rPr>
              <a:t>, more </a:t>
            </a:r>
            <a:r>
              <a:rPr lang="en-US" altLang="ko-KR" sz="1400" b="1" spc="3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휴먼고딕" panose="02010504000101010101" pitchFamily="2" charset="-127"/>
                <a:ea typeface="휴먼고딕" panose="02010504000101010101" pitchFamily="2" charset="-127"/>
              </a:rPr>
              <a:t>sustainability</a:t>
            </a:r>
            <a:endParaRPr lang="ko-KR" altLang="en-US" sz="1400" b="1" spc="300" dirty="0" smtClean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pic>
        <p:nvPicPr>
          <p:cNvPr id="24" name="그림 2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7054" y="1462830"/>
            <a:ext cx="5019310" cy="2143595"/>
          </a:xfrm>
          <a:prstGeom prst="rect">
            <a:avLst/>
          </a:prstGeom>
        </p:spPr>
      </p:pic>
      <p:cxnSp>
        <p:nvCxnSpPr>
          <p:cNvPr id="25" name="직선 연결선 24"/>
          <p:cNvCxnSpPr/>
          <p:nvPr/>
        </p:nvCxnSpPr>
        <p:spPr>
          <a:xfrm>
            <a:off x="3965506" y="2557130"/>
            <a:ext cx="1728192" cy="0"/>
          </a:xfrm>
          <a:prstGeom prst="line">
            <a:avLst/>
          </a:prstGeom>
          <a:ln w="34925">
            <a:solidFill>
              <a:srgbClr val="E0332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모서리가 둥근 직사각형 8"/>
          <p:cNvSpPr/>
          <p:nvPr/>
        </p:nvSpPr>
        <p:spPr>
          <a:xfrm>
            <a:off x="252250" y="3606425"/>
            <a:ext cx="8640230" cy="2846911"/>
          </a:xfrm>
          <a:prstGeom prst="round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0744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727737" y="545535"/>
            <a:ext cx="7930108" cy="4124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미래형 </a:t>
            </a:r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중장기 건강보험 </a:t>
            </a:r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수급체계 검토</a:t>
            </a:r>
            <a:endParaRPr lang="en-US" sz="26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40286" y="1268760"/>
            <a:ext cx="8633413" cy="53014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20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세계적 유례가 적은 제도 불구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환자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병원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의사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보험료 납부 국민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공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동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불만</a:t>
            </a:r>
            <a:endParaRPr lang="en-US" altLang="ko-KR" sz="16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환자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의사 등 </a:t>
            </a:r>
            <a:r>
              <a:rPr lang="ko-KR" altLang="en-US" sz="1600" b="1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대상별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여론 수렴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미래지향적 종합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개선방안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자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체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마련</a:t>
            </a:r>
            <a:endParaRPr lang="en-US" altLang="ko-KR" sz="1600" b="1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/>
            <a:endParaRPr lang="en-US" altLang="ko-KR" sz="16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&lt;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건강보험료 부과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수요관리 측면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&gt;</a:t>
            </a:r>
          </a:p>
          <a:p>
            <a:pPr fontAlgn="base">
              <a:lnSpc>
                <a:spcPct val="20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「소득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직장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),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재산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지역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중심」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부과체계 개편 관련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국민 각계 여론 수렴 후 「조기 결론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추진」</a:t>
            </a:r>
            <a:endParaRPr lang="en-US" altLang="ko-KR" sz="1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보험료 산정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부과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납부의 「형평성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효율성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체계성」 강화 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빅데이터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활용 등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상당기간 보험혜택 없는 </a:t>
            </a:r>
            <a:r>
              <a:rPr lang="ko-KR" altLang="en-US" sz="15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비진료자에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대한 보험료 할인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인센티브부여 제도 도입 등</a:t>
            </a:r>
            <a:endParaRPr lang="en-US" altLang="ko-KR" sz="1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/>
            <a:endParaRPr lang="en-US" altLang="ko-KR" sz="16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&lt;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건강 보험급여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평가 관련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&gt;</a:t>
            </a:r>
          </a:p>
          <a:p>
            <a:pPr fontAlgn="base">
              <a:lnSpc>
                <a:spcPct val="200000"/>
              </a:lnSpc>
            </a:pP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① 질병발생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치료관리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돌봄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재활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요양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휴양 등 「통합 의료체계」에 부응한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건강보험 체계 검토</a:t>
            </a:r>
            <a:endParaRPr lang="en-US" altLang="ko-KR" sz="1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② 기본진료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치료의 보장 이외에 「수혜자 맞춤형 선택진료」 강화</a:t>
            </a:r>
            <a:endParaRPr lang="en-US" altLang="ko-KR" sz="1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-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저소득층 검진사업 확대 등 보호 강화 하되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본인의사로 추가진료 받을 기회 확대</a:t>
            </a:r>
            <a:endParaRPr lang="en-US" altLang="ko-KR" sz="14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200000"/>
              </a:lnSpc>
            </a:pP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③ 현재 병원 내 진료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치료 행위에 한정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「병원 밖의 환자」에게 진료와 보험 급여 확대 등</a:t>
            </a:r>
            <a:endParaRPr lang="en-US" altLang="ko-KR" sz="1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④ 사후적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구제적 보험처리보다 질병예방 등 「예방적」 보험수요 관리대책 강구 등</a:t>
            </a:r>
            <a:endParaRPr lang="en-US" altLang="ko-KR" sz="15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grpSp>
        <p:nvGrpSpPr>
          <p:cNvPr id="31" name="그룹 30"/>
          <p:cNvGrpSpPr/>
          <p:nvPr/>
        </p:nvGrpSpPr>
        <p:grpSpPr>
          <a:xfrm>
            <a:off x="-8274" y="-81403"/>
            <a:ext cx="1120288" cy="1236229"/>
            <a:chOff x="-8274" y="-81403"/>
            <a:chExt cx="1120288" cy="1236229"/>
          </a:xfrm>
        </p:grpSpPr>
        <p:grpSp>
          <p:nvGrpSpPr>
            <p:cNvPr id="32" name="Group 50"/>
            <p:cNvGrpSpPr/>
            <p:nvPr/>
          </p:nvGrpSpPr>
          <p:grpSpPr>
            <a:xfrm>
              <a:off x="-1122" y="-81403"/>
              <a:ext cx="1113136" cy="1236229"/>
              <a:chOff x="-9097" y="-96310"/>
              <a:chExt cx="974935" cy="1025474"/>
            </a:xfrm>
          </p:grpSpPr>
          <p:sp>
            <p:nvSpPr>
              <p:cNvPr id="34" name="Diagonal Stripe 51"/>
              <p:cNvSpPr/>
              <p:nvPr/>
            </p:nvSpPr>
            <p:spPr>
              <a:xfrm>
                <a:off x="-7091" y="-23336"/>
                <a:ext cx="972929" cy="952500"/>
              </a:xfrm>
              <a:prstGeom prst="diagStripe">
                <a:avLst>
                  <a:gd name="adj" fmla="val 61073"/>
                </a:avLst>
              </a:pr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3400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12700" dir="5400000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5" name="TextBox 34"/>
              <p:cNvSpPr txBox="1"/>
              <p:nvPr/>
            </p:nvSpPr>
            <p:spPr>
              <a:xfrm rot="18886281">
                <a:off x="58852" y="187690"/>
                <a:ext cx="770174" cy="2021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7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국회의원</a:t>
                </a:r>
                <a:r>
                  <a:rPr lang="ko-KR" altLang="en-US" sz="9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 이명수</a:t>
                </a:r>
                <a:endParaRPr lang="en-US" sz="900" dirty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endParaRPr>
              </a:p>
            </p:txBody>
          </p:sp>
          <p:cxnSp>
            <p:nvCxnSpPr>
              <p:cNvPr id="36" name="Straight Connector 53"/>
              <p:cNvCxnSpPr/>
              <p:nvPr/>
            </p:nvCxnSpPr>
            <p:spPr>
              <a:xfrm flipH="1">
                <a:off x="-9097" y="-22860"/>
                <a:ext cx="623270" cy="623272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54"/>
              <p:cNvCxnSpPr/>
              <p:nvPr/>
            </p:nvCxnSpPr>
            <p:spPr>
              <a:xfrm flipH="1">
                <a:off x="-7091" y="-22860"/>
                <a:ext cx="921493" cy="893213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3" name="그림 3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66808">
              <a:off x="-8274" y="724510"/>
              <a:ext cx="252257" cy="120873"/>
            </a:xfrm>
            <a:prstGeom prst="rect">
              <a:avLst/>
            </a:prstGeom>
          </p:spPr>
        </p:pic>
      </p:grpSp>
      <p:pic>
        <p:nvPicPr>
          <p:cNvPr id="15" name="그림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1824" y="132907"/>
            <a:ext cx="966277" cy="388658"/>
          </a:xfrm>
          <a:prstGeom prst="rect">
            <a:avLst/>
          </a:prstGeom>
        </p:spPr>
      </p:pic>
      <p:sp>
        <p:nvSpPr>
          <p:cNvPr id="14" name="오른쪽 화살표 13"/>
          <p:cNvSpPr/>
          <p:nvPr/>
        </p:nvSpPr>
        <p:spPr>
          <a:xfrm>
            <a:off x="582859" y="1927651"/>
            <a:ext cx="217365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03775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672961" y="633402"/>
            <a:ext cx="7719175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건강보험료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「부과체계 개선 방향 및 내용」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진단</a:t>
            </a:r>
            <a:endParaRPr lang="en-US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56351" y="1228620"/>
            <a:ext cx="847032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對국민 만족도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호응도는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높은 편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보험료 관련 민원은 폭증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3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7,160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만 건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부과체계의 공정성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형평성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문제와 </a:t>
            </a:r>
            <a:r>
              <a:rPr lang="ko-KR" altLang="en-US" sz="16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생계형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체납자 양산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전체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민원의 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80% (5,730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만 건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직장가입자 등기 「부담능력 있는 피부양자」의 무임승차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전체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가입자의 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41% (2,040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만 명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타의에 의한 보험료 인상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보험료 부과체계 문제 등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국민적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불신과 불만 증가 추세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679979" y="5636562"/>
            <a:ext cx="8431510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19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主소득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+ 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재</a:t>
            </a:r>
            <a:r>
              <a:rPr lang="ko-KR" altLang="en-US" sz="19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산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또는 기본보험료」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반영</a:t>
            </a:r>
            <a:r>
              <a:rPr lang="en-US" altLang="ko-KR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『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부과체계 개편 </a:t>
            </a:r>
            <a:r>
              <a:rPr lang="en-US" altLang="ko-KR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– 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사회적 합의</a:t>
            </a:r>
            <a:r>
              <a:rPr lang="en-US" altLang="ko-KR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』</a:t>
            </a:r>
          </a:p>
          <a:p>
            <a:pPr>
              <a:lnSpc>
                <a:spcPct val="150000"/>
              </a:lnSpc>
            </a:pPr>
            <a:r>
              <a:rPr lang="en-US" altLang="ko-KR" sz="19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 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시급 추진</a:t>
            </a:r>
            <a:endParaRPr lang="ko-KR" altLang="en-US" sz="19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3" name="오른쪽 화살표 22"/>
          <p:cNvSpPr/>
          <p:nvPr/>
        </p:nvSpPr>
        <p:spPr>
          <a:xfrm>
            <a:off x="6624228" y="140114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오른쪽 화살표 23"/>
          <p:cNvSpPr/>
          <p:nvPr/>
        </p:nvSpPr>
        <p:spPr>
          <a:xfrm>
            <a:off x="5625407" y="177281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오른쪽 화살표 25"/>
          <p:cNvSpPr/>
          <p:nvPr/>
        </p:nvSpPr>
        <p:spPr>
          <a:xfrm>
            <a:off x="389287" y="5753317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1824" y="132907"/>
            <a:ext cx="966277" cy="388658"/>
          </a:xfrm>
          <a:prstGeom prst="rect">
            <a:avLst/>
          </a:prstGeom>
        </p:spPr>
      </p:pic>
      <p:sp>
        <p:nvSpPr>
          <p:cNvPr id="25" name="오른쪽 화살표 24"/>
          <p:cNvSpPr/>
          <p:nvPr/>
        </p:nvSpPr>
        <p:spPr>
          <a:xfrm>
            <a:off x="5803134" y="213285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9" name="오른쪽 화살표 28"/>
          <p:cNvSpPr/>
          <p:nvPr/>
        </p:nvSpPr>
        <p:spPr>
          <a:xfrm>
            <a:off x="5267516" y="249289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27" name="그룹 26"/>
          <p:cNvGrpSpPr/>
          <p:nvPr/>
        </p:nvGrpSpPr>
        <p:grpSpPr>
          <a:xfrm>
            <a:off x="-8274" y="-81403"/>
            <a:ext cx="1120288" cy="1236229"/>
            <a:chOff x="-8274" y="-81403"/>
            <a:chExt cx="1120288" cy="1236229"/>
          </a:xfrm>
        </p:grpSpPr>
        <p:grpSp>
          <p:nvGrpSpPr>
            <p:cNvPr id="28" name="Group 50"/>
            <p:cNvGrpSpPr/>
            <p:nvPr/>
          </p:nvGrpSpPr>
          <p:grpSpPr>
            <a:xfrm>
              <a:off x="-1122" y="-81403"/>
              <a:ext cx="1113136" cy="1236229"/>
              <a:chOff x="-9097" y="-96310"/>
              <a:chExt cx="974935" cy="1025474"/>
            </a:xfrm>
          </p:grpSpPr>
          <p:sp>
            <p:nvSpPr>
              <p:cNvPr id="32" name="Diagonal Stripe 51"/>
              <p:cNvSpPr/>
              <p:nvPr/>
            </p:nvSpPr>
            <p:spPr>
              <a:xfrm>
                <a:off x="-7091" y="-23336"/>
                <a:ext cx="972929" cy="952500"/>
              </a:xfrm>
              <a:prstGeom prst="diagStripe">
                <a:avLst>
                  <a:gd name="adj" fmla="val 61073"/>
                </a:avLst>
              </a:pr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3400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12700" dir="5400000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 rot="18886281">
                <a:off x="58852" y="187690"/>
                <a:ext cx="770174" cy="2021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7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국회의원</a:t>
                </a:r>
                <a:r>
                  <a:rPr lang="ko-KR" altLang="en-US" sz="9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 이명수</a:t>
                </a:r>
                <a:endParaRPr lang="en-US" sz="900" dirty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endParaRPr>
              </a:p>
            </p:txBody>
          </p:sp>
          <p:cxnSp>
            <p:nvCxnSpPr>
              <p:cNvPr id="34" name="Straight Connector 53"/>
              <p:cNvCxnSpPr/>
              <p:nvPr/>
            </p:nvCxnSpPr>
            <p:spPr>
              <a:xfrm flipH="1">
                <a:off x="-9097" y="-22860"/>
                <a:ext cx="623270" cy="623272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54"/>
              <p:cNvCxnSpPr/>
              <p:nvPr/>
            </p:nvCxnSpPr>
            <p:spPr>
              <a:xfrm flipH="1">
                <a:off x="-7091" y="-22860"/>
                <a:ext cx="921493" cy="893213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1" name="그림 30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66808">
              <a:off x="-8274" y="724510"/>
              <a:ext cx="252257" cy="120873"/>
            </a:xfrm>
            <a:prstGeom prst="rect">
              <a:avLst/>
            </a:prstGeom>
          </p:spPr>
        </p:pic>
      </p:grp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graphicFrame>
        <p:nvGraphicFramePr>
          <p:cNvPr id="49" name="표 4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1595588"/>
              </p:ext>
            </p:extLst>
          </p:nvPr>
        </p:nvGraphicFramePr>
        <p:xfrm>
          <a:off x="556591" y="3444998"/>
          <a:ext cx="8314242" cy="182880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69CF1AB2-1976-4502-BF36-3FF5EA218861}</a:tableStyleId>
              </a:tblPr>
              <a:tblGrid>
                <a:gridCol w="958354"/>
                <a:gridCol w="3816424"/>
                <a:gridCol w="3539464"/>
              </a:tblGrid>
              <a:tr h="0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현행 부과체계</a:t>
                      </a:r>
                      <a:endParaRPr lang="ko-KR" alt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 smtClean="0"/>
                        <a:t>기획단</a:t>
                      </a:r>
                      <a:r>
                        <a:rPr lang="ko-KR" altLang="en-US" sz="1200" dirty="0" smtClean="0"/>
                        <a:t> 개편 방향</a:t>
                      </a:r>
                      <a:endParaRPr lang="ko-KR" altLang="en-US" sz="12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직장가입자</a:t>
                      </a:r>
                      <a:endParaRPr lang="ko-KR" alt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dirty="0" smtClean="0"/>
                        <a:t>▷ 직장에서 받는 보수 기준으로 보험료 납부</a:t>
                      </a:r>
                      <a:endParaRPr lang="en-US" altLang="ko-KR" sz="1200" dirty="0" smtClean="0"/>
                    </a:p>
                    <a:p>
                      <a:pPr latinLnBrk="1"/>
                      <a:r>
                        <a:rPr lang="ko-KR" altLang="en-US" sz="1200" dirty="0" smtClean="0"/>
                        <a:t>▷ 보수 외 종합과세소득이 연 </a:t>
                      </a:r>
                      <a:r>
                        <a:rPr lang="en-US" altLang="ko-KR" sz="1200" dirty="0" smtClean="0"/>
                        <a:t>7,200</a:t>
                      </a:r>
                      <a:r>
                        <a:rPr lang="ko-KR" altLang="en-US" sz="1200" dirty="0" smtClean="0"/>
                        <a:t>만원 초과시</a:t>
                      </a:r>
                      <a:endParaRPr lang="en-US" altLang="ko-KR" sz="1200" dirty="0" smtClean="0"/>
                    </a:p>
                    <a:p>
                      <a:pPr latinLnBrk="1"/>
                      <a:r>
                        <a:rPr lang="en-US" altLang="ko-KR" sz="1200" dirty="0" smtClean="0"/>
                        <a:t>    </a:t>
                      </a:r>
                      <a:r>
                        <a:rPr lang="ko-KR" altLang="en-US" sz="1200" dirty="0" smtClean="0"/>
                        <a:t>보수 </a:t>
                      </a:r>
                      <a:r>
                        <a:rPr lang="en-US" altLang="ko-KR" sz="1200" dirty="0" smtClean="0"/>
                        <a:t>+ </a:t>
                      </a:r>
                      <a:r>
                        <a:rPr lang="ko-KR" altLang="en-US" sz="1200" dirty="0" smtClean="0"/>
                        <a:t>보수 외 소득에 보험료 납부</a:t>
                      </a:r>
                      <a:endParaRPr lang="ko-KR" alt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dirty="0" smtClean="0"/>
                        <a:t>▷ 보수 외 종합과세소득에도 보험료 부과하는 </a:t>
                      </a:r>
                      <a:endParaRPr lang="en-US" altLang="ko-KR" sz="1200" dirty="0" smtClean="0"/>
                    </a:p>
                    <a:p>
                      <a:pPr latinLnBrk="1"/>
                      <a:r>
                        <a:rPr lang="en-US" altLang="ko-KR" sz="1200" dirty="0" smtClean="0"/>
                        <a:t>    </a:t>
                      </a:r>
                      <a:r>
                        <a:rPr lang="ko-KR" altLang="en-US" sz="1200" dirty="0" smtClean="0"/>
                        <a:t>대상 확대 </a:t>
                      </a:r>
                      <a:r>
                        <a:rPr lang="en-US" altLang="ko-KR" sz="1200" dirty="0" smtClean="0"/>
                        <a:t>(</a:t>
                      </a:r>
                      <a:r>
                        <a:rPr lang="ko-KR" altLang="en-US" sz="1200" dirty="0" smtClean="0"/>
                        <a:t>종합과세소득 </a:t>
                      </a:r>
                      <a:r>
                        <a:rPr lang="en-US" altLang="ko-KR" sz="1200" dirty="0" smtClean="0"/>
                        <a:t>: </a:t>
                      </a:r>
                      <a:r>
                        <a:rPr lang="ko-KR" altLang="en-US" sz="1200" dirty="0" smtClean="0"/>
                        <a:t>근로소득</a:t>
                      </a:r>
                      <a:r>
                        <a:rPr lang="en-US" altLang="ko-KR" sz="1200" dirty="0" smtClean="0"/>
                        <a:t>, </a:t>
                      </a:r>
                      <a:r>
                        <a:rPr lang="ko-KR" altLang="en-US" sz="1200" dirty="0" smtClean="0"/>
                        <a:t>사업소득</a:t>
                      </a:r>
                      <a:r>
                        <a:rPr lang="en-US" altLang="ko-KR" sz="1200" dirty="0" smtClean="0"/>
                        <a:t>, </a:t>
                      </a:r>
                    </a:p>
                    <a:p>
                      <a:pPr latinLnBrk="1"/>
                      <a:r>
                        <a:rPr lang="en-US" altLang="ko-KR" sz="1200" dirty="0" smtClean="0"/>
                        <a:t>    2</a:t>
                      </a:r>
                      <a:r>
                        <a:rPr lang="ko-KR" altLang="en-US" sz="1200" dirty="0" smtClean="0"/>
                        <a:t>천만 원 초과 금융소득</a:t>
                      </a:r>
                      <a:r>
                        <a:rPr lang="en-US" altLang="ko-KR" sz="1200" dirty="0" smtClean="0"/>
                        <a:t>, </a:t>
                      </a:r>
                      <a:r>
                        <a:rPr lang="ko-KR" altLang="en-US" sz="1200" dirty="0" smtClean="0"/>
                        <a:t>연금소득</a:t>
                      </a:r>
                      <a:r>
                        <a:rPr lang="en-US" altLang="ko-KR" sz="1200" dirty="0" smtClean="0"/>
                        <a:t>, </a:t>
                      </a:r>
                      <a:r>
                        <a:rPr lang="ko-KR" altLang="en-US" sz="1200" dirty="0" smtClean="0"/>
                        <a:t>기타소득</a:t>
                      </a:r>
                      <a:r>
                        <a:rPr lang="en-US" altLang="ko-KR" sz="1200" dirty="0" smtClean="0"/>
                        <a:t>)</a:t>
                      </a:r>
                      <a:endParaRPr lang="ko-KR" altLang="en-US" sz="12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직장가입자</a:t>
                      </a:r>
                      <a:endParaRPr lang="en-US" altLang="ko-KR" sz="1200" dirty="0" smtClean="0"/>
                    </a:p>
                    <a:p>
                      <a:pPr algn="ctr" latinLnBrk="1"/>
                      <a:r>
                        <a:rPr lang="ko-KR" altLang="en-US" sz="1200" dirty="0" smtClean="0"/>
                        <a:t>피부양자</a:t>
                      </a:r>
                      <a:endParaRPr lang="ko-KR" alt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dirty="0" smtClean="0"/>
                        <a:t>▷ 별도의 보험료 납부하지 않음</a:t>
                      </a:r>
                      <a:endParaRPr lang="ko-KR" alt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dirty="0" smtClean="0"/>
                        <a:t>▷ 일정 수준 이상 소득 </a:t>
                      </a:r>
                      <a:r>
                        <a:rPr lang="ko-KR" altLang="en-US" sz="1200" dirty="0" err="1" smtClean="0"/>
                        <a:t>보유시</a:t>
                      </a:r>
                      <a:r>
                        <a:rPr lang="ko-KR" altLang="en-US" sz="1200" dirty="0" smtClean="0"/>
                        <a:t> 보험료 납부</a:t>
                      </a:r>
                      <a:endParaRPr lang="en-US" altLang="ko-KR" sz="1200" dirty="0" smtClean="0"/>
                    </a:p>
                    <a:p>
                      <a:pPr latinLnBrk="1"/>
                      <a:r>
                        <a:rPr lang="en-US" altLang="ko-KR" sz="1200" dirty="0" smtClean="0"/>
                        <a:t>    (</a:t>
                      </a:r>
                      <a:r>
                        <a:rPr lang="ko-KR" altLang="en-US" sz="1200" dirty="0" smtClean="0"/>
                        <a:t>→ 지역가입자 전환</a:t>
                      </a:r>
                      <a:r>
                        <a:rPr lang="en-US" altLang="ko-KR" sz="1200" dirty="0" smtClean="0"/>
                        <a:t>)</a:t>
                      </a:r>
                      <a:endParaRPr lang="ko-KR" altLang="en-US" sz="12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지역가입자</a:t>
                      </a:r>
                      <a:endParaRPr lang="ko-KR" alt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spc="-150" dirty="0" smtClean="0"/>
                        <a:t>▷ 연간종합과세소득 </a:t>
                      </a:r>
                      <a:r>
                        <a:rPr lang="en-US" altLang="ko-KR" sz="1200" spc="-150" dirty="0" smtClean="0"/>
                        <a:t>500</a:t>
                      </a:r>
                      <a:r>
                        <a:rPr lang="ko-KR" altLang="en-US" sz="1200" spc="-150" dirty="0" smtClean="0"/>
                        <a:t>만원 초과시 소득</a:t>
                      </a:r>
                      <a:r>
                        <a:rPr lang="en-US" altLang="ko-KR" sz="1200" spc="-150" dirty="0" smtClean="0"/>
                        <a:t>+</a:t>
                      </a:r>
                      <a:r>
                        <a:rPr lang="ko-KR" altLang="en-US" sz="1200" spc="-150" dirty="0" smtClean="0"/>
                        <a:t>재산</a:t>
                      </a:r>
                      <a:r>
                        <a:rPr lang="en-US" altLang="ko-KR" sz="1200" spc="-150" dirty="0" smtClean="0"/>
                        <a:t>+</a:t>
                      </a:r>
                      <a:r>
                        <a:rPr lang="ko-KR" altLang="en-US" sz="1200" spc="-150" dirty="0" smtClean="0"/>
                        <a:t>자동차</a:t>
                      </a:r>
                      <a:r>
                        <a:rPr lang="en-US" altLang="ko-KR" sz="1200" spc="-150" dirty="0" smtClean="0"/>
                        <a:t/>
                      </a:r>
                      <a:br>
                        <a:rPr lang="en-US" altLang="ko-KR" sz="1200" spc="-150" dirty="0" smtClean="0"/>
                      </a:br>
                      <a:r>
                        <a:rPr lang="ko-KR" altLang="en-US" sz="1200" spc="-150" dirty="0" smtClean="0"/>
                        <a:t>▷ 연간종합과세소득 </a:t>
                      </a:r>
                      <a:r>
                        <a:rPr lang="en-US" altLang="ko-KR" sz="1200" spc="-150" dirty="0" smtClean="0"/>
                        <a:t>500</a:t>
                      </a:r>
                      <a:r>
                        <a:rPr lang="ko-KR" altLang="en-US" sz="1200" spc="-150" dirty="0" smtClean="0"/>
                        <a:t>만원 </a:t>
                      </a:r>
                      <a:r>
                        <a:rPr lang="ko-KR" altLang="en-US" sz="1200" spc="-150" dirty="0" err="1" smtClean="0"/>
                        <a:t>미만시</a:t>
                      </a:r>
                      <a:r>
                        <a:rPr lang="ko-KR" altLang="en-US" sz="1200" spc="-150" dirty="0" smtClean="0"/>
                        <a:t> 평가소득</a:t>
                      </a:r>
                      <a:r>
                        <a:rPr lang="en-US" altLang="ko-KR" sz="1200" spc="-150" dirty="0" smtClean="0"/>
                        <a:t>+</a:t>
                      </a:r>
                      <a:r>
                        <a:rPr lang="ko-KR" altLang="en-US" sz="1200" spc="-150" dirty="0" smtClean="0"/>
                        <a:t>재산</a:t>
                      </a:r>
                      <a:r>
                        <a:rPr lang="en-US" altLang="ko-KR" sz="1200" spc="-150" dirty="0" smtClean="0"/>
                        <a:t>+</a:t>
                      </a:r>
                      <a:r>
                        <a:rPr lang="ko-KR" altLang="en-US" sz="1200" spc="-150" dirty="0" smtClean="0"/>
                        <a:t>자동차</a:t>
                      </a:r>
                      <a:endParaRPr lang="ko-KR" altLang="en-US" sz="1200" spc="-1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dirty="0" smtClean="0"/>
                        <a:t>▷ 종합과세소득 </a:t>
                      </a:r>
                      <a:r>
                        <a:rPr lang="en-US" altLang="ko-KR" sz="1200" dirty="0" smtClean="0"/>
                        <a:t>+ </a:t>
                      </a:r>
                      <a:r>
                        <a:rPr lang="ko-KR" altLang="en-US" sz="1200" dirty="0" smtClean="0"/>
                        <a:t>재산에 보험료부과</a:t>
                      </a:r>
                      <a:endParaRPr lang="en-US" altLang="ko-KR" sz="1200" dirty="0" smtClean="0"/>
                    </a:p>
                    <a:p>
                      <a:pPr latinLnBrk="1"/>
                      <a:r>
                        <a:rPr lang="en-US" altLang="ko-KR" sz="1200" dirty="0" smtClean="0"/>
                        <a:t>    </a:t>
                      </a:r>
                      <a:r>
                        <a:rPr lang="ko-KR" altLang="en-US" sz="1200" dirty="0" smtClean="0"/>
                        <a:t>자동차 기준 제외</a:t>
                      </a:r>
                      <a:r>
                        <a:rPr lang="en-US" altLang="ko-KR" sz="1200" dirty="0" smtClean="0"/>
                        <a:t>, </a:t>
                      </a:r>
                      <a:r>
                        <a:rPr lang="ko-KR" altLang="en-US" sz="1200" dirty="0" smtClean="0"/>
                        <a:t>재산 기준 축소</a:t>
                      </a:r>
                      <a:endParaRPr lang="ko-KR" altLang="en-US" sz="1200" dirty="0"/>
                    </a:p>
                  </a:txBody>
                  <a:tcPr/>
                </a:tc>
              </a:tr>
            </a:tbl>
          </a:graphicData>
        </a:graphic>
      </p:graphicFrame>
      <p:grpSp>
        <p:nvGrpSpPr>
          <p:cNvPr id="58" name="Group 72"/>
          <p:cNvGrpSpPr/>
          <p:nvPr/>
        </p:nvGrpSpPr>
        <p:grpSpPr>
          <a:xfrm>
            <a:off x="4092124" y="2940942"/>
            <a:ext cx="790778" cy="719138"/>
            <a:chOff x="6884988" y="2916238"/>
            <a:chExt cx="455613" cy="414338"/>
          </a:xfrm>
          <a:effectLst/>
        </p:grpSpPr>
        <p:sp>
          <p:nvSpPr>
            <p:cNvPr id="59" name="Freeform 476"/>
            <p:cNvSpPr>
              <a:spLocks/>
            </p:cNvSpPr>
            <p:nvPr/>
          </p:nvSpPr>
          <p:spPr bwMode="auto">
            <a:xfrm>
              <a:off x="6989763" y="3173413"/>
              <a:ext cx="46038" cy="157163"/>
            </a:xfrm>
            <a:custGeom>
              <a:avLst/>
              <a:gdLst>
                <a:gd name="T0" fmla="*/ 0 w 116"/>
                <a:gd name="T1" fmla="*/ 68 h 394"/>
                <a:gd name="T2" fmla="*/ 0 w 116"/>
                <a:gd name="T3" fmla="*/ 394 h 394"/>
                <a:gd name="T4" fmla="*/ 116 w 116"/>
                <a:gd name="T5" fmla="*/ 394 h 394"/>
                <a:gd name="T6" fmla="*/ 116 w 116"/>
                <a:gd name="T7" fmla="*/ 48 h 394"/>
                <a:gd name="T8" fmla="*/ 68 w 116"/>
                <a:gd name="T9" fmla="*/ 0 h 394"/>
                <a:gd name="T10" fmla="*/ 0 w 116"/>
                <a:gd name="T11" fmla="*/ 68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6" h="394">
                  <a:moveTo>
                    <a:pt x="0" y="68"/>
                  </a:moveTo>
                  <a:lnTo>
                    <a:pt x="0" y="394"/>
                  </a:lnTo>
                  <a:lnTo>
                    <a:pt x="116" y="394"/>
                  </a:lnTo>
                  <a:lnTo>
                    <a:pt x="116" y="48"/>
                  </a:lnTo>
                  <a:lnTo>
                    <a:pt x="68" y="0"/>
                  </a:lnTo>
                  <a:lnTo>
                    <a:pt x="0" y="68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3175">
              <a:noFill/>
              <a:miter lim="800000"/>
              <a:headEnd/>
              <a:tailEnd/>
            </a:ln>
            <a:extLst/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20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60" name="Freeform 477"/>
            <p:cNvSpPr>
              <a:spLocks/>
            </p:cNvSpPr>
            <p:nvPr/>
          </p:nvSpPr>
          <p:spPr bwMode="auto">
            <a:xfrm>
              <a:off x="6937376" y="3222626"/>
              <a:ext cx="30163" cy="107950"/>
            </a:xfrm>
            <a:custGeom>
              <a:avLst/>
              <a:gdLst>
                <a:gd name="T0" fmla="*/ 0 w 75"/>
                <a:gd name="T1" fmla="*/ 271 h 271"/>
                <a:gd name="T2" fmla="*/ 75 w 75"/>
                <a:gd name="T3" fmla="*/ 271 h 271"/>
                <a:gd name="T4" fmla="*/ 75 w 75"/>
                <a:gd name="T5" fmla="*/ 0 h 271"/>
                <a:gd name="T6" fmla="*/ 0 w 75"/>
                <a:gd name="T7" fmla="*/ 75 h 271"/>
                <a:gd name="T8" fmla="*/ 0 w 75"/>
                <a:gd name="T9" fmla="*/ 27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271">
                  <a:moveTo>
                    <a:pt x="0" y="271"/>
                  </a:moveTo>
                  <a:lnTo>
                    <a:pt x="75" y="271"/>
                  </a:lnTo>
                  <a:lnTo>
                    <a:pt x="75" y="0"/>
                  </a:lnTo>
                  <a:lnTo>
                    <a:pt x="0" y="75"/>
                  </a:lnTo>
                  <a:lnTo>
                    <a:pt x="0" y="271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3175">
              <a:noFill/>
              <a:miter lim="800000"/>
              <a:headEnd/>
              <a:tailEnd/>
            </a:ln>
            <a:extLst/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20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61" name="Freeform 478"/>
            <p:cNvSpPr>
              <a:spLocks/>
            </p:cNvSpPr>
            <p:nvPr/>
          </p:nvSpPr>
          <p:spPr bwMode="auto">
            <a:xfrm>
              <a:off x="7188201" y="3016251"/>
              <a:ext cx="98425" cy="314325"/>
            </a:xfrm>
            <a:custGeom>
              <a:avLst/>
              <a:gdLst>
                <a:gd name="T0" fmla="*/ 0 w 248"/>
                <a:gd name="T1" fmla="*/ 246 h 790"/>
                <a:gd name="T2" fmla="*/ 0 w 248"/>
                <a:gd name="T3" fmla="*/ 790 h 790"/>
                <a:gd name="T4" fmla="*/ 248 w 248"/>
                <a:gd name="T5" fmla="*/ 790 h 790"/>
                <a:gd name="T6" fmla="*/ 248 w 248"/>
                <a:gd name="T7" fmla="*/ 0 h 790"/>
                <a:gd name="T8" fmla="*/ 0 w 248"/>
                <a:gd name="T9" fmla="*/ 246 h 7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790">
                  <a:moveTo>
                    <a:pt x="0" y="246"/>
                  </a:moveTo>
                  <a:lnTo>
                    <a:pt x="0" y="790"/>
                  </a:lnTo>
                  <a:lnTo>
                    <a:pt x="248" y="790"/>
                  </a:lnTo>
                  <a:lnTo>
                    <a:pt x="248" y="0"/>
                  </a:lnTo>
                  <a:lnTo>
                    <a:pt x="0" y="246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3175">
              <a:noFill/>
              <a:miter lim="800000"/>
              <a:headEnd/>
              <a:tailEnd/>
            </a:ln>
            <a:extLst/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20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62" name="Freeform 479"/>
            <p:cNvSpPr>
              <a:spLocks/>
            </p:cNvSpPr>
            <p:nvPr/>
          </p:nvSpPr>
          <p:spPr bwMode="auto">
            <a:xfrm>
              <a:off x="7110413" y="3140076"/>
              <a:ext cx="55563" cy="190500"/>
            </a:xfrm>
            <a:custGeom>
              <a:avLst/>
              <a:gdLst>
                <a:gd name="T0" fmla="*/ 0 w 144"/>
                <a:gd name="T1" fmla="*/ 135 h 480"/>
                <a:gd name="T2" fmla="*/ 0 w 144"/>
                <a:gd name="T3" fmla="*/ 480 h 480"/>
                <a:gd name="T4" fmla="*/ 144 w 144"/>
                <a:gd name="T5" fmla="*/ 480 h 480"/>
                <a:gd name="T6" fmla="*/ 144 w 144"/>
                <a:gd name="T7" fmla="*/ 0 h 480"/>
                <a:gd name="T8" fmla="*/ 135 w 144"/>
                <a:gd name="T9" fmla="*/ 0 h 480"/>
                <a:gd name="T10" fmla="*/ 0 w 144"/>
                <a:gd name="T11" fmla="*/ 135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4" h="480">
                  <a:moveTo>
                    <a:pt x="0" y="135"/>
                  </a:moveTo>
                  <a:lnTo>
                    <a:pt x="0" y="480"/>
                  </a:lnTo>
                  <a:lnTo>
                    <a:pt x="144" y="480"/>
                  </a:lnTo>
                  <a:lnTo>
                    <a:pt x="144" y="0"/>
                  </a:lnTo>
                  <a:lnTo>
                    <a:pt x="135" y="0"/>
                  </a:lnTo>
                  <a:lnTo>
                    <a:pt x="0" y="135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3175">
              <a:noFill/>
              <a:miter lim="800000"/>
              <a:headEnd/>
              <a:tailEnd/>
            </a:ln>
            <a:extLst/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20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63" name="Freeform 480"/>
            <p:cNvSpPr>
              <a:spLocks/>
            </p:cNvSpPr>
            <p:nvPr/>
          </p:nvSpPr>
          <p:spPr bwMode="auto">
            <a:xfrm>
              <a:off x="7058026" y="3214688"/>
              <a:ext cx="30163" cy="115888"/>
            </a:xfrm>
            <a:custGeom>
              <a:avLst/>
              <a:gdLst>
                <a:gd name="T0" fmla="*/ 39 w 76"/>
                <a:gd name="T1" fmla="*/ 40 h 293"/>
                <a:gd name="T2" fmla="*/ 14 w 76"/>
                <a:gd name="T3" fmla="*/ 14 h 293"/>
                <a:gd name="T4" fmla="*/ 0 w 76"/>
                <a:gd name="T5" fmla="*/ 0 h 293"/>
                <a:gd name="T6" fmla="*/ 0 w 76"/>
                <a:gd name="T7" fmla="*/ 293 h 293"/>
                <a:gd name="T8" fmla="*/ 76 w 76"/>
                <a:gd name="T9" fmla="*/ 293 h 293"/>
                <a:gd name="T10" fmla="*/ 76 w 76"/>
                <a:gd name="T11" fmla="*/ 2 h 293"/>
                <a:gd name="T12" fmla="*/ 65 w 76"/>
                <a:gd name="T13" fmla="*/ 14 h 293"/>
                <a:gd name="T14" fmla="*/ 39 w 76"/>
                <a:gd name="T15" fmla="*/ 40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6" h="293">
                  <a:moveTo>
                    <a:pt x="39" y="40"/>
                  </a:moveTo>
                  <a:lnTo>
                    <a:pt x="14" y="14"/>
                  </a:lnTo>
                  <a:lnTo>
                    <a:pt x="0" y="0"/>
                  </a:lnTo>
                  <a:lnTo>
                    <a:pt x="0" y="293"/>
                  </a:lnTo>
                  <a:lnTo>
                    <a:pt x="76" y="293"/>
                  </a:lnTo>
                  <a:lnTo>
                    <a:pt x="76" y="2"/>
                  </a:lnTo>
                  <a:lnTo>
                    <a:pt x="65" y="14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3175">
              <a:noFill/>
              <a:miter lim="800000"/>
              <a:headEnd/>
              <a:tailEnd/>
            </a:ln>
            <a:extLst/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20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64" name="Freeform 481"/>
            <p:cNvSpPr>
              <a:spLocks/>
            </p:cNvSpPr>
            <p:nvPr/>
          </p:nvSpPr>
          <p:spPr bwMode="auto">
            <a:xfrm>
              <a:off x="6884988" y="2916238"/>
              <a:ext cx="455613" cy="342900"/>
            </a:xfrm>
            <a:custGeom>
              <a:avLst/>
              <a:gdLst>
                <a:gd name="T0" fmla="*/ 1028 w 1145"/>
                <a:gd name="T1" fmla="*/ 183 h 865"/>
                <a:gd name="T2" fmla="*/ 1145 w 1145"/>
                <a:gd name="T3" fmla="*/ 301 h 865"/>
                <a:gd name="T4" fmla="*/ 1101 w 1145"/>
                <a:gd name="T5" fmla="*/ 44 h 865"/>
                <a:gd name="T6" fmla="*/ 844 w 1145"/>
                <a:gd name="T7" fmla="*/ 0 h 865"/>
                <a:gd name="T8" fmla="*/ 963 w 1145"/>
                <a:gd name="T9" fmla="*/ 118 h 865"/>
                <a:gd name="T10" fmla="*/ 473 w 1145"/>
                <a:gd name="T11" fmla="*/ 610 h 865"/>
                <a:gd name="T12" fmla="*/ 331 w 1145"/>
                <a:gd name="T13" fmla="*/ 468 h 865"/>
                <a:gd name="T14" fmla="*/ 0 w 1145"/>
                <a:gd name="T15" fmla="*/ 800 h 865"/>
                <a:gd name="T16" fmla="*/ 65 w 1145"/>
                <a:gd name="T17" fmla="*/ 865 h 865"/>
                <a:gd name="T18" fmla="*/ 331 w 1145"/>
                <a:gd name="T19" fmla="*/ 598 h 865"/>
                <a:gd name="T20" fmla="*/ 408 w 1145"/>
                <a:gd name="T21" fmla="*/ 675 h 865"/>
                <a:gd name="T22" fmla="*/ 408 w 1145"/>
                <a:gd name="T23" fmla="*/ 675 h 865"/>
                <a:gd name="T24" fmla="*/ 473 w 1145"/>
                <a:gd name="T25" fmla="*/ 739 h 865"/>
                <a:gd name="T26" fmla="*/ 473 w 1145"/>
                <a:gd name="T27" fmla="*/ 739 h 865"/>
                <a:gd name="T28" fmla="*/ 538 w 1145"/>
                <a:gd name="T29" fmla="*/ 675 h 865"/>
                <a:gd name="T30" fmla="*/ 1028 w 1145"/>
                <a:gd name="T31" fmla="*/ 183 h 8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45" h="865">
                  <a:moveTo>
                    <a:pt x="1028" y="183"/>
                  </a:moveTo>
                  <a:lnTo>
                    <a:pt x="1145" y="301"/>
                  </a:lnTo>
                  <a:lnTo>
                    <a:pt x="1101" y="44"/>
                  </a:lnTo>
                  <a:lnTo>
                    <a:pt x="844" y="0"/>
                  </a:lnTo>
                  <a:lnTo>
                    <a:pt x="963" y="118"/>
                  </a:lnTo>
                  <a:lnTo>
                    <a:pt x="473" y="610"/>
                  </a:lnTo>
                  <a:lnTo>
                    <a:pt x="331" y="468"/>
                  </a:lnTo>
                  <a:lnTo>
                    <a:pt x="0" y="800"/>
                  </a:lnTo>
                  <a:lnTo>
                    <a:pt x="65" y="865"/>
                  </a:lnTo>
                  <a:lnTo>
                    <a:pt x="331" y="598"/>
                  </a:lnTo>
                  <a:lnTo>
                    <a:pt x="408" y="675"/>
                  </a:lnTo>
                  <a:lnTo>
                    <a:pt x="408" y="675"/>
                  </a:lnTo>
                  <a:lnTo>
                    <a:pt x="473" y="739"/>
                  </a:lnTo>
                  <a:lnTo>
                    <a:pt x="473" y="739"/>
                  </a:lnTo>
                  <a:lnTo>
                    <a:pt x="538" y="675"/>
                  </a:lnTo>
                  <a:lnTo>
                    <a:pt x="1028" y="183"/>
                  </a:lnTo>
                  <a:close/>
                </a:path>
              </a:pathLst>
            </a:custGeom>
            <a:solidFill>
              <a:srgbClr val="0D65AC"/>
            </a:solidFill>
            <a:ln w="3175">
              <a:noFill/>
              <a:miter lim="800000"/>
              <a:headEnd/>
              <a:tailEnd/>
            </a:ln>
            <a:extLst/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200">
                <a:solidFill>
                  <a:srgbClr val="FFFFFF"/>
                </a:solidFill>
                <a:latin typeface="+mj-lt"/>
              </a:endParaRPr>
            </a:p>
          </p:txBody>
        </p:sp>
      </p:grpSp>
      <p:grpSp>
        <p:nvGrpSpPr>
          <p:cNvPr id="65" name="Group 79"/>
          <p:cNvGrpSpPr/>
          <p:nvPr/>
        </p:nvGrpSpPr>
        <p:grpSpPr>
          <a:xfrm>
            <a:off x="7845251" y="2956552"/>
            <a:ext cx="619967" cy="703528"/>
            <a:chOff x="3217863" y="2916238"/>
            <a:chExt cx="365126" cy="414338"/>
          </a:xfrm>
          <a:solidFill>
            <a:srgbClr val="CE202A"/>
          </a:solidFill>
        </p:grpSpPr>
        <p:sp>
          <p:nvSpPr>
            <p:cNvPr id="66" name="Freeform 467"/>
            <p:cNvSpPr>
              <a:spLocks/>
            </p:cNvSpPr>
            <p:nvPr/>
          </p:nvSpPr>
          <p:spPr bwMode="auto">
            <a:xfrm>
              <a:off x="3217863" y="2916238"/>
              <a:ext cx="171450" cy="169863"/>
            </a:xfrm>
            <a:custGeom>
              <a:avLst/>
              <a:gdLst>
                <a:gd name="T0" fmla="*/ 132 w 433"/>
                <a:gd name="T1" fmla="*/ 0 h 430"/>
                <a:gd name="T2" fmla="*/ 379 w 433"/>
                <a:gd name="T3" fmla="*/ 248 h 430"/>
                <a:gd name="T4" fmla="*/ 433 w 433"/>
                <a:gd name="T5" fmla="*/ 430 h 430"/>
                <a:gd name="T6" fmla="*/ 248 w 433"/>
                <a:gd name="T7" fmla="*/ 380 h 430"/>
                <a:gd name="T8" fmla="*/ 0 w 433"/>
                <a:gd name="T9" fmla="*/ 131 h 430"/>
                <a:gd name="T10" fmla="*/ 132 w 433"/>
                <a:gd name="T11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3" h="430">
                  <a:moveTo>
                    <a:pt x="132" y="0"/>
                  </a:moveTo>
                  <a:lnTo>
                    <a:pt x="379" y="248"/>
                  </a:lnTo>
                  <a:lnTo>
                    <a:pt x="433" y="430"/>
                  </a:lnTo>
                  <a:lnTo>
                    <a:pt x="248" y="380"/>
                  </a:lnTo>
                  <a:lnTo>
                    <a:pt x="0" y="131"/>
                  </a:lnTo>
                  <a:lnTo>
                    <a:pt x="132" y="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3175">
              <a:noFill/>
              <a:miter lim="800000"/>
              <a:headEnd/>
              <a:tailEnd/>
            </a:ln>
            <a:extLst/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20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67" name="Freeform 468"/>
            <p:cNvSpPr>
              <a:spLocks/>
            </p:cNvSpPr>
            <p:nvPr/>
          </p:nvSpPr>
          <p:spPr bwMode="auto">
            <a:xfrm>
              <a:off x="3319463" y="3017838"/>
              <a:ext cx="60325" cy="58738"/>
            </a:xfrm>
            <a:custGeom>
              <a:avLst/>
              <a:gdLst>
                <a:gd name="T0" fmla="*/ 123 w 152"/>
                <a:gd name="T1" fmla="*/ 0 h 151"/>
                <a:gd name="T2" fmla="*/ 152 w 152"/>
                <a:gd name="T3" fmla="*/ 101 h 151"/>
                <a:gd name="T4" fmla="*/ 103 w 152"/>
                <a:gd name="T5" fmla="*/ 151 h 151"/>
                <a:gd name="T6" fmla="*/ 0 w 152"/>
                <a:gd name="T7" fmla="*/ 122 h 151"/>
                <a:gd name="T8" fmla="*/ 123 w 152"/>
                <a:gd name="T9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2" h="151">
                  <a:moveTo>
                    <a:pt x="123" y="0"/>
                  </a:moveTo>
                  <a:lnTo>
                    <a:pt x="152" y="101"/>
                  </a:lnTo>
                  <a:lnTo>
                    <a:pt x="103" y="151"/>
                  </a:lnTo>
                  <a:lnTo>
                    <a:pt x="0" y="122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68" name="Freeform 469"/>
            <p:cNvSpPr>
              <a:spLocks noEditPoints="1"/>
            </p:cNvSpPr>
            <p:nvPr/>
          </p:nvSpPr>
          <p:spPr bwMode="auto">
            <a:xfrm>
              <a:off x="3267076" y="2943226"/>
              <a:ext cx="315913" cy="387350"/>
            </a:xfrm>
            <a:custGeom>
              <a:avLst/>
              <a:gdLst>
                <a:gd name="T0" fmla="*/ 656 w 794"/>
                <a:gd name="T1" fmla="*/ 313 h 977"/>
                <a:gd name="T2" fmla="*/ 317 w 794"/>
                <a:gd name="T3" fmla="*/ 269 h 977"/>
                <a:gd name="T4" fmla="*/ 792 w 794"/>
                <a:gd name="T5" fmla="*/ 521 h 977"/>
                <a:gd name="T6" fmla="*/ 792 w 794"/>
                <a:gd name="T7" fmla="*/ 83 h 977"/>
                <a:gd name="T8" fmla="*/ 789 w 794"/>
                <a:gd name="T9" fmla="*/ 65 h 977"/>
                <a:gd name="T10" fmla="*/ 782 w 794"/>
                <a:gd name="T11" fmla="*/ 49 h 977"/>
                <a:gd name="T12" fmla="*/ 772 w 794"/>
                <a:gd name="T13" fmla="*/ 34 h 977"/>
                <a:gd name="T14" fmla="*/ 759 w 794"/>
                <a:gd name="T15" fmla="*/ 22 h 977"/>
                <a:gd name="T16" fmla="*/ 745 w 794"/>
                <a:gd name="T17" fmla="*/ 12 h 977"/>
                <a:gd name="T18" fmla="*/ 729 w 794"/>
                <a:gd name="T19" fmla="*/ 5 h 977"/>
                <a:gd name="T20" fmla="*/ 710 w 794"/>
                <a:gd name="T21" fmla="*/ 1 h 977"/>
                <a:gd name="T22" fmla="*/ 407 w 794"/>
                <a:gd name="T23" fmla="*/ 1 h 977"/>
                <a:gd name="T24" fmla="*/ 205 w 794"/>
                <a:gd name="T25" fmla="*/ 0 h 977"/>
                <a:gd name="T26" fmla="*/ 407 w 794"/>
                <a:gd name="T27" fmla="*/ 70 h 977"/>
                <a:gd name="T28" fmla="*/ 701 w 794"/>
                <a:gd name="T29" fmla="*/ 70 h 977"/>
                <a:gd name="T30" fmla="*/ 710 w 794"/>
                <a:gd name="T31" fmla="*/ 72 h 977"/>
                <a:gd name="T32" fmla="*/ 717 w 794"/>
                <a:gd name="T33" fmla="*/ 77 h 977"/>
                <a:gd name="T34" fmla="*/ 722 w 794"/>
                <a:gd name="T35" fmla="*/ 83 h 977"/>
                <a:gd name="T36" fmla="*/ 724 w 794"/>
                <a:gd name="T37" fmla="*/ 93 h 977"/>
                <a:gd name="T38" fmla="*/ 432 w 794"/>
                <a:gd name="T39" fmla="*/ 521 h 977"/>
                <a:gd name="T40" fmla="*/ 414 w 794"/>
                <a:gd name="T41" fmla="*/ 523 h 977"/>
                <a:gd name="T42" fmla="*/ 396 w 794"/>
                <a:gd name="T43" fmla="*/ 529 h 977"/>
                <a:gd name="T44" fmla="*/ 381 w 794"/>
                <a:gd name="T45" fmla="*/ 537 h 977"/>
                <a:gd name="T46" fmla="*/ 367 w 794"/>
                <a:gd name="T47" fmla="*/ 548 h 977"/>
                <a:gd name="T48" fmla="*/ 356 w 794"/>
                <a:gd name="T49" fmla="*/ 562 h 977"/>
                <a:gd name="T50" fmla="*/ 347 w 794"/>
                <a:gd name="T51" fmla="*/ 578 h 977"/>
                <a:gd name="T52" fmla="*/ 342 w 794"/>
                <a:gd name="T53" fmla="*/ 595 h 977"/>
                <a:gd name="T54" fmla="*/ 340 w 794"/>
                <a:gd name="T55" fmla="*/ 613 h 977"/>
                <a:gd name="T56" fmla="*/ 92 w 794"/>
                <a:gd name="T57" fmla="*/ 908 h 977"/>
                <a:gd name="T58" fmla="*/ 83 w 794"/>
                <a:gd name="T59" fmla="*/ 906 h 977"/>
                <a:gd name="T60" fmla="*/ 75 w 794"/>
                <a:gd name="T61" fmla="*/ 901 h 977"/>
                <a:gd name="T62" fmla="*/ 71 w 794"/>
                <a:gd name="T63" fmla="*/ 894 h 977"/>
                <a:gd name="T64" fmla="*/ 70 w 794"/>
                <a:gd name="T65" fmla="*/ 885 h 977"/>
                <a:gd name="T66" fmla="*/ 70 w 794"/>
                <a:gd name="T67" fmla="*/ 602 h 977"/>
                <a:gd name="T68" fmla="*/ 0 w 794"/>
                <a:gd name="T69" fmla="*/ 359 h 977"/>
                <a:gd name="T70" fmla="*/ 0 w 794"/>
                <a:gd name="T71" fmla="*/ 602 h 977"/>
                <a:gd name="T72" fmla="*/ 1 w 794"/>
                <a:gd name="T73" fmla="*/ 894 h 977"/>
                <a:gd name="T74" fmla="*/ 5 w 794"/>
                <a:gd name="T75" fmla="*/ 912 h 977"/>
                <a:gd name="T76" fmla="*/ 12 w 794"/>
                <a:gd name="T77" fmla="*/ 929 h 977"/>
                <a:gd name="T78" fmla="*/ 22 w 794"/>
                <a:gd name="T79" fmla="*/ 943 h 977"/>
                <a:gd name="T80" fmla="*/ 33 w 794"/>
                <a:gd name="T81" fmla="*/ 955 h 977"/>
                <a:gd name="T82" fmla="*/ 48 w 794"/>
                <a:gd name="T83" fmla="*/ 966 h 977"/>
                <a:gd name="T84" fmla="*/ 65 w 794"/>
                <a:gd name="T85" fmla="*/ 972 h 977"/>
                <a:gd name="T86" fmla="*/ 83 w 794"/>
                <a:gd name="T87" fmla="*/ 976 h 977"/>
                <a:gd name="T88" fmla="*/ 339 w 794"/>
                <a:gd name="T89" fmla="*/ 977 h 977"/>
                <a:gd name="T90" fmla="*/ 342 w 794"/>
                <a:gd name="T91" fmla="*/ 976 h 977"/>
                <a:gd name="T92" fmla="*/ 791 w 794"/>
                <a:gd name="T93" fmla="*/ 525 h 977"/>
                <a:gd name="T94" fmla="*/ 792 w 794"/>
                <a:gd name="T95" fmla="*/ 522 h 977"/>
                <a:gd name="T96" fmla="*/ 792 w 794"/>
                <a:gd name="T97" fmla="*/ 521 h 977"/>
                <a:gd name="T98" fmla="*/ 409 w 794"/>
                <a:gd name="T99" fmla="*/ 613 h 977"/>
                <a:gd name="T100" fmla="*/ 411 w 794"/>
                <a:gd name="T101" fmla="*/ 604 h 977"/>
                <a:gd name="T102" fmla="*/ 416 w 794"/>
                <a:gd name="T103" fmla="*/ 597 h 977"/>
                <a:gd name="T104" fmla="*/ 423 w 794"/>
                <a:gd name="T105" fmla="*/ 592 h 977"/>
                <a:gd name="T106" fmla="*/ 432 w 794"/>
                <a:gd name="T107" fmla="*/ 591 h 977"/>
                <a:gd name="T108" fmla="*/ 409 w 794"/>
                <a:gd name="T109" fmla="*/ 855 h 977"/>
                <a:gd name="T110" fmla="*/ 317 w 794"/>
                <a:gd name="T111" fmla="*/ 152 h 977"/>
                <a:gd name="T112" fmla="*/ 656 w 794"/>
                <a:gd name="T113" fmla="*/ 195 h 977"/>
                <a:gd name="T114" fmla="*/ 317 w 794"/>
                <a:gd name="T115" fmla="*/ 430 h 977"/>
                <a:gd name="T116" fmla="*/ 656 w 794"/>
                <a:gd name="T117" fmla="*/ 387 h 977"/>
                <a:gd name="T118" fmla="*/ 317 w 794"/>
                <a:gd name="T119" fmla="*/ 430 h 9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94" h="977">
                  <a:moveTo>
                    <a:pt x="317" y="313"/>
                  </a:moveTo>
                  <a:lnTo>
                    <a:pt x="656" y="313"/>
                  </a:lnTo>
                  <a:lnTo>
                    <a:pt x="656" y="269"/>
                  </a:lnTo>
                  <a:lnTo>
                    <a:pt x="317" y="269"/>
                  </a:lnTo>
                  <a:lnTo>
                    <a:pt x="317" y="313"/>
                  </a:lnTo>
                  <a:close/>
                  <a:moveTo>
                    <a:pt x="792" y="521"/>
                  </a:moveTo>
                  <a:lnTo>
                    <a:pt x="792" y="93"/>
                  </a:lnTo>
                  <a:lnTo>
                    <a:pt x="792" y="83"/>
                  </a:lnTo>
                  <a:lnTo>
                    <a:pt x="791" y="74"/>
                  </a:lnTo>
                  <a:lnTo>
                    <a:pt x="789" y="65"/>
                  </a:lnTo>
                  <a:lnTo>
                    <a:pt x="786" y="57"/>
                  </a:lnTo>
                  <a:lnTo>
                    <a:pt x="782" y="49"/>
                  </a:lnTo>
                  <a:lnTo>
                    <a:pt x="778" y="41"/>
                  </a:lnTo>
                  <a:lnTo>
                    <a:pt x="772" y="34"/>
                  </a:lnTo>
                  <a:lnTo>
                    <a:pt x="766" y="28"/>
                  </a:lnTo>
                  <a:lnTo>
                    <a:pt x="759" y="22"/>
                  </a:lnTo>
                  <a:lnTo>
                    <a:pt x="753" y="16"/>
                  </a:lnTo>
                  <a:lnTo>
                    <a:pt x="745" y="12"/>
                  </a:lnTo>
                  <a:lnTo>
                    <a:pt x="737" y="8"/>
                  </a:lnTo>
                  <a:lnTo>
                    <a:pt x="729" y="5"/>
                  </a:lnTo>
                  <a:lnTo>
                    <a:pt x="719" y="2"/>
                  </a:lnTo>
                  <a:lnTo>
                    <a:pt x="710" y="1"/>
                  </a:lnTo>
                  <a:lnTo>
                    <a:pt x="701" y="1"/>
                  </a:lnTo>
                  <a:lnTo>
                    <a:pt x="407" y="1"/>
                  </a:lnTo>
                  <a:lnTo>
                    <a:pt x="407" y="0"/>
                  </a:lnTo>
                  <a:lnTo>
                    <a:pt x="205" y="0"/>
                  </a:lnTo>
                  <a:lnTo>
                    <a:pt x="205" y="70"/>
                  </a:lnTo>
                  <a:lnTo>
                    <a:pt x="407" y="70"/>
                  </a:lnTo>
                  <a:lnTo>
                    <a:pt x="407" y="70"/>
                  </a:lnTo>
                  <a:lnTo>
                    <a:pt x="701" y="70"/>
                  </a:lnTo>
                  <a:lnTo>
                    <a:pt x="706" y="70"/>
                  </a:lnTo>
                  <a:lnTo>
                    <a:pt x="710" y="72"/>
                  </a:lnTo>
                  <a:lnTo>
                    <a:pt x="714" y="73"/>
                  </a:lnTo>
                  <a:lnTo>
                    <a:pt x="717" y="77"/>
                  </a:lnTo>
                  <a:lnTo>
                    <a:pt x="719" y="80"/>
                  </a:lnTo>
                  <a:lnTo>
                    <a:pt x="722" y="83"/>
                  </a:lnTo>
                  <a:lnTo>
                    <a:pt x="724" y="88"/>
                  </a:lnTo>
                  <a:lnTo>
                    <a:pt x="724" y="93"/>
                  </a:lnTo>
                  <a:lnTo>
                    <a:pt x="724" y="521"/>
                  </a:lnTo>
                  <a:lnTo>
                    <a:pt x="432" y="521"/>
                  </a:lnTo>
                  <a:lnTo>
                    <a:pt x="423" y="522"/>
                  </a:lnTo>
                  <a:lnTo>
                    <a:pt x="414" y="523"/>
                  </a:lnTo>
                  <a:lnTo>
                    <a:pt x="405" y="526"/>
                  </a:lnTo>
                  <a:lnTo>
                    <a:pt x="396" y="529"/>
                  </a:lnTo>
                  <a:lnTo>
                    <a:pt x="388" y="532"/>
                  </a:lnTo>
                  <a:lnTo>
                    <a:pt x="381" y="537"/>
                  </a:lnTo>
                  <a:lnTo>
                    <a:pt x="374" y="543"/>
                  </a:lnTo>
                  <a:lnTo>
                    <a:pt x="367" y="548"/>
                  </a:lnTo>
                  <a:lnTo>
                    <a:pt x="362" y="555"/>
                  </a:lnTo>
                  <a:lnTo>
                    <a:pt x="356" y="562"/>
                  </a:lnTo>
                  <a:lnTo>
                    <a:pt x="351" y="570"/>
                  </a:lnTo>
                  <a:lnTo>
                    <a:pt x="347" y="578"/>
                  </a:lnTo>
                  <a:lnTo>
                    <a:pt x="344" y="586"/>
                  </a:lnTo>
                  <a:lnTo>
                    <a:pt x="342" y="595"/>
                  </a:lnTo>
                  <a:lnTo>
                    <a:pt x="341" y="604"/>
                  </a:lnTo>
                  <a:lnTo>
                    <a:pt x="340" y="613"/>
                  </a:lnTo>
                  <a:lnTo>
                    <a:pt x="340" y="908"/>
                  </a:lnTo>
                  <a:lnTo>
                    <a:pt x="92" y="908"/>
                  </a:lnTo>
                  <a:lnTo>
                    <a:pt x="88" y="908"/>
                  </a:lnTo>
                  <a:lnTo>
                    <a:pt x="83" y="906"/>
                  </a:lnTo>
                  <a:lnTo>
                    <a:pt x="79" y="904"/>
                  </a:lnTo>
                  <a:lnTo>
                    <a:pt x="75" y="901"/>
                  </a:lnTo>
                  <a:lnTo>
                    <a:pt x="73" y="897"/>
                  </a:lnTo>
                  <a:lnTo>
                    <a:pt x="71" y="894"/>
                  </a:lnTo>
                  <a:lnTo>
                    <a:pt x="70" y="889"/>
                  </a:lnTo>
                  <a:lnTo>
                    <a:pt x="70" y="885"/>
                  </a:lnTo>
                  <a:lnTo>
                    <a:pt x="70" y="602"/>
                  </a:lnTo>
                  <a:lnTo>
                    <a:pt x="70" y="602"/>
                  </a:lnTo>
                  <a:lnTo>
                    <a:pt x="70" y="359"/>
                  </a:lnTo>
                  <a:lnTo>
                    <a:pt x="0" y="359"/>
                  </a:lnTo>
                  <a:lnTo>
                    <a:pt x="0" y="602"/>
                  </a:lnTo>
                  <a:lnTo>
                    <a:pt x="0" y="602"/>
                  </a:lnTo>
                  <a:lnTo>
                    <a:pt x="0" y="885"/>
                  </a:lnTo>
                  <a:lnTo>
                    <a:pt x="1" y="894"/>
                  </a:lnTo>
                  <a:lnTo>
                    <a:pt x="2" y="903"/>
                  </a:lnTo>
                  <a:lnTo>
                    <a:pt x="5" y="912"/>
                  </a:lnTo>
                  <a:lnTo>
                    <a:pt x="7" y="921"/>
                  </a:lnTo>
                  <a:lnTo>
                    <a:pt x="12" y="929"/>
                  </a:lnTo>
                  <a:lnTo>
                    <a:pt x="16" y="936"/>
                  </a:lnTo>
                  <a:lnTo>
                    <a:pt x="22" y="943"/>
                  </a:lnTo>
                  <a:lnTo>
                    <a:pt x="28" y="950"/>
                  </a:lnTo>
                  <a:lnTo>
                    <a:pt x="33" y="955"/>
                  </a:lnTo>
                  <a:lnTo>
                    <a:pt x="41" y="961"/>
                  </a:lnTo>
                  <a:lnTo>
                    <a:pt x="48" y="966"/>
                  </a:lnTo>
                  <a:lnTo>
                    <a:pt x="56" y="970"/>
                  </a:lnTo>
                  <a:lnTo>
                    <a:pt x="65" y="972"/>
                  </a:lnTo>
                  <a:lnTo>
                    <a:pt x="74" y="975"/>
                  </a:lnTo>
                  <a:lnTo>
                    <a:pt x="83" y="976"/>
                  </a:lnTo>
                  <a:lnTo>
                    <a:pt x="92" y="977"/>
                  </a:lnTo>
                  <a:lnTo>
                    <a:pt x="339" y="977"/>
                  </a:lnTo>
                  <a:lnTo>
                    <a:pt x="340" y="976"/>
                  </a:lnTo>
                  <a:lnTo>
                    <a:pt x="342" y="976"/>
                  </a:lnTo>
                  <a:lnTo>
                    <a:pt x="791" y="526"/>
                  </a:lnTo>
                  <a:lnTo>
                    <a:pt x="791" y="525"/>
                  </a:lnTo>
                  <a:lnTo>
                    <a:pt x="792" y="523"/>
                  </a:lnTo>
                  <a:lnTo>
                    <a:pt x="792" y="522"/>
                  </a:lnTo>
                  <a:lnTo>
                    <a:pt x="794" y="521"/>
                  </a:lnTo>
                  <a:lnTo>
                    <a:pt x="792" y="521"/>
                  </a:lnTo>
                  <a:close/>
                  <a:moveTo>
                    <a:pt x="409" y="855"/>
                  </a:moveTo>
                  <a:lnTo>
                    <a:pt x="409" y="613"/>
                  </a:lnTo>
                  <a:lnTo>
                    <a:pt x="409" y="609"/>
                  </a:lnTo>
                  <a:lnTo>
                    <a:pt x="411" y="604"/>
                  </a:lnTo>
                  <a:lnTo>
                    <a:pt x="413" y="601"/>
                  </a:lnTo>
                  <a:lnTo>
                    <a:pt x="416" y="597"/>
                  </a:lnTo>
                  <a:lnTo>
                    <a:pt x="420" y="594"/>
                  </a:lnTo>
                  <a:lnTo>
                    <a:pt x="423" y="592"/>
                  </a:lnTo>
                  <a:lnTo>
                    <a:pt x="428" y="591"/>
                  </a:lnTo>
                  <a:lnTo>
                    <a:pt x="432" y="591"/>
                  </a:lnTo>
                  <a:lnTo>
                    <a:pt x="674" y="591"/>
                  </a:lnTo>
                  <a:lnTo>
                    <a:pt x="409" y="855"/>
                  </a:lnTo>
                  <a:close/>
                  <a:moveTo>
                    <a:pt x="656" y="152"/>
                  </a:moveTo>
                  <a:lnTo>
                    <a:pt x="317" y="152"/>
                  </a:lnTo>
                  <a:lnTo>
                    <a:pt x="317" y="195"/>
                  </a:lnTo>
                  <a:lnTo>
                    <a:pt x="656" y="195"/>
                  </a:lnTo>
                  <a:lnTo>
                    <a:pt x="656" y="152"/>
                  </a:lnTo>
                  <a:close/>
                  <a:moveTo>
                    <a:pt x="317" y="430"/>
                  </a:moveTo>
                  <a:lnTo>
                    <a:pt x="656" y="430"/>
                  </a:lnTo>
                  <a:lnTo>
                    <a:pt x="656" y="387"/>
                  </a:lnTo>
                  <a:lnTo>
                    <a:pt x="317" y="387"/>
                  </a:lnTo>
                  <a:lnTo>
                    <a:pt x="317" y="4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63696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701574" y="405881"/>
            <a:ext cx="7719175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「공단 對 심평원 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갈등 해소모색</a:t>
            </a:r>
            <a:r>
              <a:rPr lang="ko-KR" altLang="en-US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」 ① 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통합여부</a:t>
            </a:r>
            <a:r>
              <a:rPr lang="ko-KR" altLang="en-US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문제</a:t>
            </a:r>
            <a:endParaRPr lang="en-US" sz="23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56351" y="1228620"/>
            <a:ext cx="8470324" cy="18928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기재부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복지분야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TF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팀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건강보험 재정절감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관리강화 목적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통합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또는 업무개선 추진 결정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·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「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건강보험공단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+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건강보험심사평가원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+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보건의료연구원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+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건강증진재단」등 대상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발단은 양대 기관간의 역할과 기능 관련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끊임없는 불협화음 때문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힘겨루기」 양상</a:t>
            </a:r>
          </a:p>
          <a:p>
            <a:pPr fontAlgn="base">
              <a:lnSpc>
                <a:spcPct val="150000"/>
              </a:lnSpc>
            </a:pP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</a:t>
            </a: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※ 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국토분야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주택공사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+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토지공사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상호 갈등해소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시너지효과 위해 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통합 → </a:t>
            </a:r>
            <a:r>
              <a:rPr lang="ko-KR" altLang="en-US" sz="1400" b="1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기대만큼 </a:t>
            </a:r>
            <a:r>
              <a:rPr lang="ko-KR" altLang="en-US" sz="1400" b="1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효과 </a:t>
            </a:r>
            <a:r>
              <a:rPr lang="ko-KR" altLang="en-US" sz="1400" b="1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미흡 </a:t>
            </a:r>
            <a:endParaRPr lang="ko-KR" altLang="en-US" sz="1400" b="1" spc="-150" dirty="0">
              <a:solidFill>
                <a:srgbClr val="C00000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통합에 대한 입장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: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건강보험공단 「찬성」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심평원 「반대」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업무절차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개선엔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의견 일치 </a:t>
            </a:r>
            <a:endParaRPr lang="ko-KR" altLang="en-US" sz="1600" b="1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456351" y="5713420"/>
            <a:ext cx="8588590" cy="9437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 고객중심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수요자 중심으로 「상호 정보공유 및 협력강화」는 필수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</a:p>
          <a:p>
            <a:pPr>
              <a:lnSpc>
                <a:spcPct val="150000"/>
              </a:lnSpc>
            </a:pP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국민의료 비용절감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질적 관리 주체」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로서 갈등해소 및 통합문제 결론</a:t>
            </a:r>
            <a:endParaRPr lang="ko-KR" altLang="en-US" sz="2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pSp>
        <p:nvGrpSpPr>
          <p:cNvPr id="17" name="Group 50"/>
          <p:cNvGrpSpPr/>
          <p:nvPr/>
        </p:nvGrpSpPr>
        <p:grpSpPr>
          <a:xfrm>
            <a:off x="-1122" y="-81403"/>
            <a:ext cx="1113136" cy="1236229"/>
            <a:chOff x="-9097" y="-96310"/>
            <a:chExt cx="974935" cy="1025474"/>
          </a:xfrm>
        </p:grpSpPr>
        <p:sp>
          <p:nvSpPr>
            <p:cNvPr id="18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 rot="18886281">
              <a:off x="58852" y="187690"/>
              <a:ext cx="770174" cy="20217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7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9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9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20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2" name="그림 2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-8274" y="724510"/>
            <a:ext cx="252257" cy="120873"/>
          </a:xfrm>
          <a:prstGeom prst="rect">
            <a:avLst/>
          </a:prstGeom>
        </p:spPr>
      </p:pic>
      <p:sp>
        <p:nvSpPr>
          <p:cNvPr id="23" name="오른쪽 화살표 22"/>
          <p:cNvSpPr/>
          <p:nvPr/>
        </p:nvSpPr>
        <p:spPr>
          <a:xfrm>
            <a:off x="5836704" y="140046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오른쪽 화살표 23"/>
          <p:cNvSpPr/>
          <p:nvPr/>
        </p:nvSpPr>
        <p:spPr>
          <a:xfrm>
            <a:off x="6733153" y="209350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오른쪽 화살표 25"/>
          <p:cNvSpPr/>
          <p:nvPr/>
        </p:nvSpPr>
        <p:spPr>
          <a:xfrm>
            <a:off x="232521" y="5837602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9" name="오른쪽 화살표 28"/>
          <p:cNvSpPr/>
          <p:nvPr/>
        </p:nvSpPr>
        <p:spPr>
          <a:xfrm>
            <a:off x="6036784" y="281804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7" name="그림 2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3104" y="116632"/>
            <a:ext cx="267142" cy="257486"/>
          </a:xfrm>
          <a:prstGeom prst="rect">
            <a:avLst/>
          </a:prstGeom>
        </p:spPr>
      </p:pic>
      <p:pic>
        <p:nvPicPr>
          <p:cNvPr id="28" name="그림 2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9078" y="116632"/>
            <a:ext cx="260002" cy="257486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924" y="3076822"/>
            <a:ext cx="4439496" cy="2760780"/>
          </a:xfrm>
          <a:prstGeom prst="rect">
            <a:avLst/>
          </a:prstGeom>
        </p:spPr>
      </p:pic>
      <p:pic>
        <p:nvPicPr>
          <p:cNvPr id="31" name="그림 30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7810" y="4283196"/>
            <a:ext cx="388710" cy="384949"/>
          </a:xfrm>
          <a:prstGeom prst="rect">
            <a:avLst/>
          </a:prstGeom>
        </p:spPr>
      </p:pic>
      <p:pic>
        <p:nvPicPr>
          <p:cNvPr id="32" name="그림 3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7265" y="4539402"/>
            <a:ext cx="342124" cy="329758"/>
          </a:xfrm>
          <a:prstGeom prst="rect">
            <a:avLst/>
          </a:prstGeom>
        </p:spPr>
      </p:pic>
      <p:grpSp>
        <p:nvGrpSpPr>
          <p:cNvPr id="25" name="Group 10"/>
          <p:cNvGrpSpPr/>
          <p:nvPr/>
        </p:nvGrpSpPr>
        <p:grpSpPr>
          <a:xfrm>
            <a:off x="5659891" y="3140310"/>
            <a:ext cx="2448272" cy="2433084"/>
            <a:chOff x="2531217" y="1465942"/>
            <a:chExt cx="3901708" cy="3877503"/>
          </a:xfrm>
        </p:grpSpPr>
        <p:sp>
          <p:nvSpPr>
            <p:cNvPr id="33" name="Circular Arrow 17"/>
            <p:cNvSpPr/>
            <p:nvPr>
              <p:custDataLst>
                <p:tags r:id="rId1"/>
              </p:custDataLst>
            </p:nvPr>
          </p:nvSpPr>
          <p:spPr>
            <a:xfrm rot="3819789">
              <a:off x="2558396" y="1468915"/>
              <a:ext cx="3874528" cy="3874530"/>
            </a:xfrm>
            <a:prstGeom prst="circularArrow">
              <a:avLst>
                <a:gd name="adj1" fmla="val 18242"/>
                <a:gd name="adj2" fmla="val 1142319"/>
                <a:gd name="adj3" fmla="val 20457687"/>
                <a:gd name="adj4" fmla="val 14422437"/>
                <a:gd name="adj5" fmla="val 12500"/>
              </a:avLst>
            </a:prstGeom>
            <a:gradFill flip="none" rotWithShape="1">
              <a:gsLst>
                <a:gs pos="0">
                  <a:srgbClr val="2A9B18"/>
                </a:gs>
                <a:gs pos="83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114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4" name="Circular Arrow 19"/>
            <p:cNvSpPr/>
            <p:nvPr>
              <p:custDataLst>
                <p:tags r:id="rId2"/>
              </p:custDataLst>
            </p:nvPr>
          </p:nvSpPr>
          <p:spPr>
            <a:xfrm rot="14076805">
              <a:off x="2538751" y="1466763"/>
              <a:ext cx="3874528" cy="3874530"/>
            </a:xfrm>
            <a:prstGeom prst="circularArrow">
              <a:avLst>
                <a:gd name="adj1" fmla="val 18242"/>
                <a:gd name="adj2" fmla="val 1142319"/>
                <a:gd name="adj3" fmla="val 20457687"/>
                <a:gd name="adj4" fmla="val 14422437"/>
                <a:gd name="adj5" fmla="val 12500"/>
              </a:avLst>
            </a:prstGeom>
            <a:gradFill flip="none" rotWithShape="1">
              <a:gsLst>
                <a:gs pos="0">
                  <a:srgbClr val="2A9B18"/>
                </a:gs>
                <a:gs pos="83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114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5" name="Circular Arrow 20"/>
            <p:cNvSpPr/>
            <p:nvPr>
              <p:custDataLst>
                <p:tags r:id="rId3"/>
              </p:custDataLst>
            </p:nvPr>
          </p:nvSpPr>
          <p:spPr>
            <a:xfrm rot="19551636">
              <a:off x="2558395" y="1468917"/>
              <a:ext cx="3874530" cy="3874528"/>
            </a:xfrm>
            <a:prstGeom prst="circularArrow">
              <a:avLst>
                <a:gd name="adj1" fmla="val 18242"/>
                <a:gd name="adj2" fmla="val 1142319"/>
                <a:gd name="adj3" fmla="val 20457687"/>
                <a:gd name="adj4" fmla="val 14422437"/>
                <a:gd name="adj5" fmla="val 12500"/>
              </a:avLst>
            </a:prstGeom>
            <a:gradFill flip="none" rotWithShape="1">
              <a:gsLst>
                <a:gs pos="0">
                  <a:srgbClr val="2A9B18"/>
                </a:gs>
                <a:gs pos="83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114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6" name="Circular Arrow 18"/>
            <p:cNvSpPr/>
            <p:nvPr>
              <p:custDataLst>
                <p:tags r:id="rId4"/>
              </p:custDataLst>
            </p:nvPr>
          </p:nvSpPr>
          <p:spPr>
            <a:xfrm rot="9139184">
              <a:off x="2531217" y="1465942"/>
              <a:ext cx="3874530" cy="3874528"/>
            </a:xfrm>
            <a:prstGeom prst="circularArrow">
              <a:avLst>
                <a:gd name="adj1" fmla="val 18242"/>
                <a:gd name="adj2" fmla="val 1142319"/>
                <a:gd name="adj3" fmla="val 20457687"/>
                <a:gd name="adj4" fmla="val 14422437"/>
                <a:gd name="adj5" fmla="val 12500"/>
              </a:avLst>
            </a:prstGeom>
            <a:gradFill flip="none" rotWithShape="1">
              <a:gsLst>
                <a:gs pos="0">
                  <a:srgbClr val="2A9B18"/>
                </a:gs>
                <a:gs pos="83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114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3" name="그룹 2"/>
          <p:cNvGrpSpPr/>
          <p:nvPr/>
        </p:nvGrpSpPr>
        <p:grpSpPr>
          <a:xfrm>
            <a:off x="6252808" y="4047409"/>
            <a:ext cx="1207978" cy="537243"/>
            <a:chOff x="5951928" y="4002159"/>
            <a:chExt cx="1493634" cy="757469"/>
          </a:xfrm>
        </p:grpSpPr>
        <p:grpSp>
          <p:nvGrpSpPr>
            <p:cNvPr id="73" name="Group 136"/>
            <p:cNvGrpSpPr/>
            <p:nvPr/>
          </p:nvGrpSpPr>
          <p:grpSpPr>
            <a:xfrm>
              <a:off x="6745372" y="4004142"/>
              <a:ext cx="700190" cy="755486"/>
              <a:chOff x="1066800" y="919535"/>
              <a:chExt cx="909638" cy="926728"/>
            </a:xfrm>
            <a:effectLst>
              <a:outerShdw blurRad="25400" dist="12700" algn="ctr" rotWithShape="0">
                <a:prstClr val="black">
                  <a:alpha val="26000"/>
                </a:prstClr>
              </a:outerShdw>
            </a:effectLst>
          </p:grpSpPr>
          <p:sp>
            <p:nvSpPr>
              <p:cNvPr id="74" name="Rectangle 6"/>
              <p:cNvSpPr>
                <a:spLocks noChangeArrowheads="1"/>
              </p:cNvSpPr>
              <p:nvPr/>
            </p:nvSpPr>
            <p:spPr bwMode="auto">
              <a:xfrm>
                <a:off x="1370013" y="995363"/>
                <a:ext cx="17463" cy="65088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7"/>
              <p:cNvSpPr>
                <a:spLocks noChangeArrowheads="1"/>
              </p:cNvSpPr>
              <p:nvPr/>
            </p:nvSpPr>
            <p:spPr bwMode="auto">
              <a:xfrm>
                <a:off x="1457325" y="935038"/>
                <a:ext cx="20638" cy="80963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8"/>
              <p:cNvSpPr>
                <a:spLocks noChangeArrowheads="1"/>
              </p:cNvSpPr>
              <p:nvPr/>
            </p:nvSpPr>
            <p:spPr bwMode="auto">
              <a:xfrm>
                <a:off x="1098550" y="1747838"/>
                <a:ext cx="846138" cy="60325"/>
              </a:xfrm>
              <a:prstGeom prst="rect">
                <a:avLst/>
              </a:prstGeom>
              <a:solidFill>
                <a:srgbClr val="1D4B6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9"/>
              <p:cNvSpPr>
                <a:spLocks noChangeArrowheads="1"/>
              </p:cNvSpPr>
              <p:nvPr/>
            </p:nvSpPr>
            <p:spPr bwMode="auto">
              <a:xfrm>
                <a:off x="1082675" y="1766888"/>
                <a:ext cx="877888" cy="60325"/>
              </a:xfrm>
              <a:prstGeom prst="rect">
                <a:avLst/>
              </a:prstGeom>
              <a:solidFill>
                <a:srgbClr val="1D4B6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10"/>
              <p:cNvSpPr>
                <a:spLocks noChangeArrowheads="1"/>
              </p:cNvSpPr>
              <p:nvPr/>
            </p:nvSpPr>
            <p:spPr bwMode="auto">
              <a:xfrm>
                <a:off x="1066800" y="1785938"/>
                <a:ext cx="909638" cy="60325"/>
              </a:xfrm>
              <a:prstGeom prst="rect">
                <a:avLst/>
              </a:prstGeom>
              <a:solidFill>
                <a:srgbClr val="1D4B6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11"/>
              <p:cNvSpPr>
                <a:spLocks/>
              </p:cNvSpPr>
              <p:nvPr/>
            </p:nvSpPr>
            <p:spPr bwMode="auto">
              <a:xfrm>
                <a:off x="1233488" y="920750"/>
                <a:ext cx="376238" cy="276225"/>
              </a:xfrm>
              <a:custGeom>
                <a:avLst/>
                <a:gdLst>
                  <a:gd name="T0" fmla="*/ 0 w 947"/>
                  <a:gd name="T1" fmla="*/ 692 h 692"/>
                  <a:gd name="T2" fmla="*/ 0 w 947"/>
                  <a:gd name="T3" fmla="*/ 481 h 692"/>
                  <a:gd name="T4" fmla="*/ 947 w 947"/>
                  <a:gd name="T5" fmla="*/ 0 h 692"/>
                  <a:gd name="T6" fmla="*/ 934 w 947"/>
                  <a:gd name="T7" fmla="*/ 264 h 692"/>
                  <a:gd name="T8" fmla="*/ 0 w 947"/>
                  <a:gd name="T9" fmla="*/ 692 h 6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47" h="692">
                    <a:moveTo>
                      <a:pt x="0" y="692"/>
                    </a:moveTo>
                    <a:lnTo>
                      <a:pt x="0" y="481"/>
                    </a:lnTo>
                    <a:lnTo>
                      <a:pt x="947" y="0"/>
                    </a:lnTo>
                    <a:lnTo>
                      <a:pt x="934" y="264"/>
                    </a:lnTo>
                    <a:lnTo>
                      <a:pt x="0" y="692"/>
                    </a:lnTo>
                    <a:close/>
                  </a:path>
                </a:pathLst>
              </a:custGeom>
              <a:gradFill>
                <a:gsLst>
                  <a:gs pos="0">
                    <a:schemeClr val="bg1">
                      <a:lumMod val="95000"/>
                      <a:shade val="67500"/>
                      <a:satMod val="115000"/>
                    </a:schemeClr>
                  </a:gs>
                  <a:gs pos="100000">
                    <a:schemeClr val="bg1">
                      <a:lumMod val="85000"/>
                    </a:schemeClr>
                  </a:gs>
                </a:gsLst>
                <a:lin ang="16200000" scaled="1"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12"/>
              <p:cNvSpPr>
                <a:spLocks/>
              </p:cNvSpPr>
              <p:nvPr/>
            </p:nvSpPr>
            <p:spPr bwMode="auto">
              <a:xfrm>
                <a:off x="1605334" y="919535"/>
                <a:ext cx="249238" cy="284163"/>
              </a:xfrm>
              <a:custGeom>
                <a:avLst/>
                <a:gdLst>
                  <a:gd name="T0" fmla="*/ 626 w 626"/>
                  <a:gd name="T1" fmla="*/ 718 h 718"/>
                  <a:gd name="T2" fmla="*/ 626 w 626"/>
                  <a:gd name="T3" fmla="*/ 506 h 718"/>
                  <a:gd name="T4" fmla="*/ 6 w 626"/>
                  <a:gd name="T5" fmla="*/ 0 h 718"/>
                  <a:gd name="T6" fmla="*/ 0 w 626"/>
                  <a:gd name="T7" fmla="*/ 274 h 718"/>
                  <a:gd name="T8" fmla="*/ 626 w 626"/>
                  <a:gd name="T9" fmla="*/ 718 h 7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26" h="718">
                    <a:moveTo>
                      <a:pt x="626" y="718"/>
                    </a:moveTo>
                    <a:lnTo>
                      <a:pt x="626" y="506"/>
                    </a:lnTo>
                    <a:lnTo>
                      <a:pt x="6" y="0"/>
                    </a:lnTo>
                    <a:lnTo>
                      <a:pt x="0" y="274"/>
                    </a:lnTo>
                    <a:lnTo>
                      <a:pt x="626" y="718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13"/>
              <p:cNvSpPr>
                <a:spLocks/>
              </p:cNvSpPr>
              <p:nvPr/>
            </p:nvSpPr>
            <p:spPr bwMode="auto">
              <a:xfrm>
                <a:off x="1123950" y="977900"/>
                <a:ext cx="519113" cy="811213"/>
              </a:xfrm>
              <a:custGeom>
                <a:avLst/>
                <a:gdLst>
                  <a:gd name="T0" fmla="*/ 0 w 1304"/>
                  <a:gd name="T1" fmla="*/ 582 h 2044"/>
                  <a:gd name="T2" fmla="*/ 1304 w 1304"/>
                  <a:gd name="T3" fmla="*/ 0 h 2044"/>
                  <a:gd name="T4" fmla="*/ 1304 w 1304"/>
                  <a:gd name="T5" fmla="*/ 2044 h 2044"/>
                  <a:gd name="T6" fmla="*/ 0 w 1304"/>
                  <a:gd name="T7" fmla="*/ 2044 h 2044"/>
                  <a:gd name="T8" fmla="*/ 0 w 1304"/>
                  <a:gd name="T9" fmla="*/ 582 h 20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04" h="2044">
                    <a:moveTo>
                      <a:pt x="0" y="582"/>
                    </a:moveTo>
                    <a:lnTo>
                      <a:pt x="1304" y="0"/>
                    </a:lnTo>
                    <a:lnTo>
                      <a:pt x="1304" y="2044"/>
                    </a:lnTo>
                    <a:lnTo>
                      <a:pt x="0" y="2044"/>
                    </a:lnTo>
                    <a:lnTo>
                      <a:pt x="0" y="582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95000"/>
                      <a:shade val="67500"/>
                      <a:satMod val="115000"/>
                    </a:schemeClr>
                  </a:gs>
                  <a:gs pos="33000">
                    <a:schemeClr val="bg1">
                      <a:lumMod val="95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14"/>
              <p:cNvSpPr>
                <a:spLocks/>
              </p:cNvSpPr>
              <p:nvPr/>
            </p:nvSpPr>
            <p:spPr bwMode="auto">
              <a:xfrm>
                <a:off x="1643063" y="977900"/>
                <a:ext cx="265113" cy="811213"/>
              </a:xfrm>
              <a:custGeom>
                <a:avLst/>
                <a:gdLst>
                  <a:gd name="T0" fmla="*/ 670 w 670"/>
                  <a:gd name="T1" fmla="*/ 582 h 2044"/>
                  <a:gd name="T2" fmla="*/ 509 w 670"/>
                  <a:gd name="T3" fmla="*/ 486 h 2044"/>
                  <a:gd name="T4" fmla="*/ 477 w 670"/>
                  <a:gd name="T5" fmla="*/ 378 h 2044"/>
                  <a:gd name="T6" fmla="*/ 0 w 670"/>
                  <a:gd name="T7" fmla="*/ 0 h 2044"/>
                  <a:gd name="T8" fmla="*/ 0 w 670"/>
                  <a:gd name="T9" fmla="*/ 2044 h 2044"/>
                  <a:gd name="T10" fmla="*/ 670 w 670"/>
                  <a:gd name="T11" fmla="*/ 2044 h 2044"/>
                  <a:gd name="T12" fmla="*/ 670 w 670"/>
                  <a:gd name="T13" fmla="*/ 582 h 20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70" h="2044">
                    <a:moveTo>
                      <a:pt x="670" y="582"/>
                    </a:moveTo>
                    <a:lnTo>
                      <a:pt x="509" y="486"/>
                    </a:lnTo>
                    <a:lnTo>
                      <a:pt x="477" y="378"/>
                    </a:lnTo>
                    <a:lnTo>
                      <a:pt x="0" y="0"/>
                    </a:lnTo>
                    <a:lnTo>
                      <a:pt x="0" y="2044"/>
                    </a:lnTo>
                    <a:lnTo>
                      <a:pt x="670" y="2044"/>
                    </a:lnTo>
                    <a:lnTo>
                      <a:pt x="670" y="582"/>
                    </a:lnTo>
                    <a:close/>
                  </a:path>
                </a:pathLst>
              </a:custGeom>
              <a:solidFill>
                <a:srgbClr val="1D4B6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15"/>
              <p:cNvSpPr>
                <a:spLocks noEditPoints="1"/>
              </p:cNvSpPr>
              <p:nvPr/>
            </p:nvSpPr>
            <p:spPr bwMode="auto">
              <a:xfrm>
                <a:off x="1157288" y="1073150"/>
                <a:ext cx="433388" cy="677863"/>
              </a:xfrm>
              <a:custGeom>
                <a:avLst/>
                <a:gdLst>
                  <a:gd name="T0" fmla="*/ 0 w 1089"/>
                  <a:gd name="T1" fmla="*/ 1589 h 1709"/>
                  <a:gd name="T2" fmla="*/ 238 w 1089"/>
                  <a:gd name="T3" fmla="*/ 1573 h 1709"/>
                  <a:gd name="T4" fmla="*/ 238 w 1089"/>
                  <a:gd name="T5" fmla="*/ 1697 h 1709"/>
                  <a:gd name="T6" fmla="*/ 0 w 1089"/>
                  <a:gd name="T7" fmla="*/ 1709 h 1709"/>
                  <a:gd name="T8" fmla="*/ 0 w 1089"/>
                  <a:gd name="T9" fmla="*/ 1589 h 1709"/>
                  <a:gd name="T10" fmla="*/ 296 w 1089"/>
                  <a:gd name="T11" fmla="*/ 1568 h 1709"/>
                  <a:gd name="T12" fmla="*/ 626 w 1089"/>
                  <a:gd name="T13" fmla="*/ 1546 h 1709"/>
                  <a:gd name="T14" fmla="*/ 626 w 1089"/>
                  <a:gd name="T15" fmla="*/ 1678 h 1709"/>
                  <a:gd name="T16" fmla="*/ 296 w 1089"/>
                  <a:gd name="T17" fmla="*/ 1694 h 1709"/>
                  <a:gd name="T18" fmla="*/ 296 w 1089"/>
                  <a:gd name="T19" fmla="*/ 1568 h 1709"/>
                  <a:gd name="T20" fmla="*/ 684 w 1089"/>
                  <a:gd name="T21" fmla="*/ 1542 h 1709"/>
                  <a:gd name="T22" fmla="*/ 1089 w 1089"/>
                  <a:gd name="T23" fmla="*/ 1515 h 1709"/>
                  <a:gd name="T24" fmla="*/ 1089 w 1089"/>
                  <a:gd name="T25" fmla="*/ 1655 h 1709"/>
                  <a:gd name="T26" fmla="*/ 684 w 1089"/>
                  <a:gd name="T27" fmla="*/ 1675 h 1709"/>
                  <a:gd name="T28" fmla="*/ 684 w 1089"/>
                  <a:gd name="T29" fmla="*/ 1542 h 1709"/>
                  <a:gd name="T30" fmla="*/ 0 w 1089"/>
                  <a:gd name="T31" fmla="*/ 441 h 1709"/>
                  <a:gd name="T32" fmla="*/ 1089 w 1089"/>
                  <a:gd name="T33" fmla="*/ 0 h 1709"/>
                  <a:gd name="T34" fmla="*/ 1089 w 1089"/>
                  <a:gd name="T35" fmla="*/ 142 h 1709"/>
                  <a:gd name="T36" fmla="*/ 0 w 1089"/>
                  <a:gd name="T37" fmla="*/ 583 h 1709"/>
                  <a:gd name="T38" fmla="*/ 0 w 1089"/>
                  <a:gd name="T39" fmla="*/ 441 h 1709"/>
                  <a:gd name="T40" fmla="*/ 0 w 1089"/>
                  <a:gd name="T41" fmla="*/ 748 h 1709"/>
                  <a:gd name="T42" fmla="*/ 1089 w 1089"/>
                  <a:gd name="T43" fmla="*/ 394 h 1709"/>
                  <a:gd name="T44" fmla="*/ 1089 w 1089"/>
                  <a:gd name="T45" fmla="*/ 535 h 1709"/>
                  <a:gd name="T46" fmla="*/ 0 w 1089"/>
                  <a:gd name="T47" fmla="*/ 889 h 1709"/>
                  <a:gd name="T48" fmla="*/ 0 w 1089"/>
                  <a:gd name="T49" fmla="*/ 748 h 1709"/>
                  <a:gd name="T50" fmla="*/ 0 w 1089"/>
                  <a:gd name="T51" fmla="*/ 1036 h 1709"/>
                  <a:gd name="T52" fmla="*/ 1089 w 1089"/>
                  <a:gd name="T53" fmla="*/ 771 h 1709"/>
                  <a:gd name="T54" fmla="*/ 1089 w 1089"/>
                  <a:gd name="T55" fmla="*/ 911 h 1709"/>
                  <a:gd name="T56" fmla="*/ 0 w 1089"/>
                  <a:gd name="T57" fmla="*/ 1178 h 1709"/>
                  <a:gd name="T58" fmla="*/ 0 w 1089"/>
                  <a:gd name="T59" fmla="*/ 1036 h 1709"/>
                  <a:gd name="T60" fmla="*/ 0 w 1089"/>
                  <a:gd name="T61" fmla="*/ 1317 h 1709"/>
                  <a:gd name="T62" fmla="*/ 1089 w 1089"/>
                  <a:gd name="T63" fmla="*/ 1147 h 1709"/>
                  <a:gd name="T64" fmla="*/ 1089 w 1089"/>
                  <a:gd name="T65" fmla="*/ 1288 h 1709"/>
                  <a:gd name="T66" fmla="*/ 0 w 1089"/>
                  <a:gd name="T67" fmla="*/ 1457 h 1709"/>
                  <a:gd name="T68" fmla="*/ 0 w 1089"/>
                  <a:gd name="T69" fmla="*/ 1317 h 17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89" h="1709">
                    <a:moveTo>
                      <a:pt x="0" y="1589"/>
                    </a:moveTo>
                    <a:lnTo>
                      <a:pt x="238" y="1573"/>
                    </a:lnTo>
                    <a:lnTo>
                      <a:pt x="238" y="1697"/>
                    </a:lnTo>
                    <a:lnTo>
                      <a:pt x="0" y="1709"/>
                    </a:lnTo>
                    <a:lnTo>
                      <a:pt x="0" y="1589"/>
                    </a:lnTo>
                    <a:close/>
                    <a:moveTo>
                      <a:pt x="296" y="1568"/>
                    </a:moveTo>
                    <a:lnTo>
                      <a:pt x="626" y="1546"/>
                    </a:lnTo>
                    <a:lnTo>
                      <a:pt x="626" y="1678"/>
                    </a:lnTo>
                    <a:lnTo>
                      <a:pt x="296" y="1694"/>
                    </a:lnTo>
                    <a:lnTo>
                      <a:pt x="296" y="1568"/>
                    </a:lnTo>
                    <a:close/>
                    <a:moveTo>
                      <a:pt x="684" y="1542"/>
                    </a:moveTo>
                    <a:lnTo>
                      <a:pt x="1089" y="1515"/>
                    </a:lnTo>
                    <a:lnTo>
                      <a:pt x="1089" y="1655"/>
                    </a:lnTo>
                    <a:lnTo>
                      <a:pt x="684" y="1675"/>
                    </a:lnTo>
                    <a:lnTo>
                      <a:pt x="684" y="1542"/>
                    </a:lnTo>
                    <a:close/>
                    <a:moveTo>
                      <a:pt x="0" y="441"/>
                    </a:moveTo>
                    <a:lnTo>
                      <a:pt x="1089" y="0"/>
                    </a:lnTo>
                    <a:lnTo>
                      <a:pt x="1089" y="142"/>
                    </a:lnTo>
                    <a:lnTo>
                      <a:pt x="0" y="583"/>
                    </a:lnTo>
                    <a:lnTo>
                      <a:pt x="0" y="441"/>
                    </a:lnTo>
                    <a:close/>
                    <a:moveTo>
                      <a:pt x="0" y="748"/>
                    </a:moveTo>
                    <a:lnTo>
                      <a:pt x="1089" y="394"/>
                    </a:lnTo>
                    <a:lnTo>
                      <a:pt x="1089" y="535"/>
                    </a:lnTo>
                    <a:lnTo>
                      <a:pt x="0" y="889"/>
                    </a:lnTo>
                    <a:lnTo>
                      <a:pt x="0" y="748"/>
                    </a:lnTo>
                    <a:close/>
                    <a:moveTo>
                      <a:pt x="0" y="1036"/>
                    </a:moveTo>
                    <a:lnTo>
                      <a:pt x="1089" y="771"/>
                    </a:lnTo>
                    <a:lnTo>
                      <a:pt x="1089" y="911"/>
                    </a:lnTo>
                    <a:lnTo>
                      <a:pt x="0" y="1178"/>
                    </a:lnTo>
                    <a:lnTo>
                      <a:pt x="0" y="1036"/>
                    </a:lnTo>
                    <a:close/>
                    <a:moveTo>
                      <a:pt x="0" y="1317"/>
                    </a:moveTo>
                    <a:lnTo>
                      <a:pt x="1089" y="1147"/>
                    </a:lnTo>
                    <a:lnTo>
                      <a:pt x="1089" y="1288"/>
                    </a:lnTo>
                    <a:lnTo>
                      <a:pt x="0" y="1457"/>
                    </a:lnTo>
                    <a:lnTo>
                      <a:pt x="0" y="1317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ffectLst>
                <a:innerShdw blurRad="25400">
                  <a:prstClr val="black">
                    <a:alpha val="28000"/>
                  </a:prstClr>
                </a:inn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84" name="Group 136"/>
            <p:cNvGrpSpPr/>
            <p:nvPr/>
          </p:nvGrpSpPr>
          <p:grpSpPr>
            <a:xfrm>
              <a:off x="5951928" y="4002159"/>
              <a:ext cx="700190" cy="755486"/>
              <a:chOff x="1066800" y="919535"/>
              <a:chExt cx="909638" cy="926728"/>
            </a:xfrm>
            <a:effectLst>
              <a:outerShdw blurRad="25400" dist="12700" algn="ctr" rotWithShape="0">
                <a:prstClr val="black">
                  <a:alpha val="26000"/>
                </a:prstClr>
              </a:outerShdw>
            </a:effectLst>
          </p:grpSpPr>
          <p:sp>
            <p:nvSpPr>
              <p:cNvPr id="85" name="Rectangle 6"/>
              <p:cNvSpPr>
                <a:spLocks noChangeArrowheads="1"/>
              </p:cNvSpPr>
              <p:nvPr/>
            </p:nvSpPr>
            <p:spPr bwMode="auto">
              <a:xfrm>
                <a:off x="1370013" y="995363"/>
                <a:ext cx="17463" cy="65088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7"/>
              <p:cNvSpPr>
                <a:spLocks noChangeArrowheads="1"/>
              </p:cNvSpPr>
              <p:nvPr/>
            </p:nvSpPr>
            <p:spPr bwMode="auto">
              <a:xfrm>
                <a:off x="1457325" y="935038"/>
                <a:ext cx="20638" cy="80963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8"/>
              <p:cNvSpPr>
                <a:spLocks noChangeArrowheads="1"/>
              </p:cNvSpPr>
              <p:nvPr/>
            </p:nvSpPr>
            <p:spPr bwMode="auto">
              <a:xfrm>
                <a:off x="1098550" y="1747838"/>
                <a:ext cx="846138" cy="60325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9"/>
              <p:cNvSpPr>
                <a:spLocks noChangeArrowheads="1"/>
              </p:cNvSpPr>
              <p:nvPr/>
            </p:nvSpPr>
            <p:spPr bwMode="auto">
              <a:xfrm>
                <a:off x="1082675" y="1766888"/>
                <a:ext cx="877888" cy="60325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10"/>
              <p:cNvSpPr>
                <a:spLocks noChangeArrowheads="1"/>
              </p:cNvSpPr>
              <p:nvPr/>
            </p:nvSpPr>
            <p:spPr bwMode="auto">
              <a:xfrm>
                <a:off x="1066800" y="1785938"/>
                <a:ext cx="909638" cy="60325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11"/>
              <p:cNvSpPr>
                <a:spLocks/>
              </p:cNvSpPr>
              <p:nvPr/>
            </p:nvSpPr>
            <p:spPr bwMode="auto">
              <a:xfrm>
                <a:off x="1233488" y="920750"/>
                <a:ext cx="376238" cy="276225"/>
              </a:xfrm>
              <a:custGeom>
                <a:avLst/>
                <a:gdLst>
                  <a:gd name="T0" fmla="*/ 0 w 947"/>
                  <a:gd name="T1" fmla="*/ 692 h 692"/>
                  <a:gd name="T2" fmla="*/ 0 w 947"/>
                  <a:gd name="T3" fmla="*/ 481 h 692"/>
                  <a:gd name="T4" fmla="*/ 947 w 947"/>
                  <a:gd name="T5" fmla="*/ 0 h 692"/>
                  <a:gd name="T6" fmla="*/ 934 w 947"/>
                  <a:gd name="T7" fmla="*/ 264 h 692"/>
                  <a:gd name="T8" fmla="*/ 0 w 947"/>
                  <a:gd name="T9" fmla="*/ 692 h 6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47" h="692">
                    <a:moveTo>
                      <a:pt x="0" y="692"/>
                    </a:moveTo>
                    <a:lnTo>
                      <a:pt x="0" y="481"/>
                    </a:lnTo>
                    <a:lnTo>
                      <a:pt x="947" y="0"/>
                    </a:lnTo>
                    <a:lnTo>
                      <a:pt x="934" y="264"/>
                    </a:lnTo>
                    <a:lnTo>
                      <a:pt x="0" y="692"/>
                    </a:lnTo>
                    <a:close/>
                  </a:path>
                </a:pathLst>
              </a:custGeom>
              <a:gradFill>
                <a:gsLst>
                  <a:gs pos="0">
                    <a:schemeClr val="bg1">
                      <a:lumMod val="95000"/>
                      <a:shade val="67500"/>
                      <a:satMod val="115000"/>
                    </a:schemeClr>
                  </a:gs>
                  <a:gs pos="100000">
                    <a:schemeClr val="bg1">
                      <a:lumMod val="85000"/>
                    </a:schemeClr>
                  </a:gs>
                </a:gsLst>
                <a:lin ang="16200000" scaled="1"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12"/>
              <p:cNvSpPr>
                <a:spLocks/>
              </p:cNvSpPr>
              <p:nvPr/>
            </p:nvSpPr>
            <p:spPr bwMode="auto">
              <a:xfrm>
                <a:off x="1605334" y="919535"/>
                <a:ext cx="249238" cy="284163"/>
              </a:xfrm>
              <a:custGeom>
                <a:avLst/>
                <a:gdLst>
                  <a:gd name="T0" fmla="*/ 626 w 626"/>
                  <a:gd name="T1" fmla="*/ 718 h 718"/>
                  <a:gd name="T2" fmla="*/ 626 w 626"/>
                  <a:gd name="T3" fmla="*/ 506 h 718"/>
                  <a:gd name="T4" fmla="*/ 6 w 626"/>
                  <a:gd name="T5" fmla="*/ 0 h 718"/>
                  <a:gd name="T6" fmla="*/ 0 w 626"/>
                  <a:gd name="T7" fmla="*/ 274 h 718"/>
                  <a:gd name="T8" fmla="*/ 626 w 626"/>
                  <a:gd name="T9" fmla="*/ 718 h 7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26" h="718">
                    <a:moveTo>
                      <a:pt x="626" y="718"/>
                    </a:moveTo>
                    <a:lnTo>
                      <a:pt x="626" y="506"/>
                    </a:lnTo>
                    <a:lnTo>
                      <a:pt x="6" y="0"/>
                    </a:lnTo>
                    <a:lnTo>
                      <a:pt x="0" y="274"/>
                    </a:lnTo>
                    <a:lnTo>
                      <a:pt x="626" y="718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13"/>
              <p:cNvSpPr>
                <a:spLocks/>
              </p:cNvSpPr>
              <p:nvPr/>
            </p:nvSpPr>
            <p:spPr bwMode="auto">
              <a:xfrm>
                <a:off x="1123950" y="977900"/>
                <a:ext cx="519113" cy="811213"/>
              </a:xfrm>
              <a:custGeom>
                <a:avLst/>
                <a:gdLst>
                  <a:gd name="T0" fmla="*/ 0 w 1304"/>
                  <a:gd name="T1" fmla="*/ 582 h 2044"/>
                  <a:gd name="T2" fmla="*/ 1304 w 1304"/>
                  <a:gd name="T3" fmla="*/ 0 h 2044"/>
                  <a:gd name="T4" fmla="*/ 1304 w 1304"/>
                  <a:gd name="T5" fmla="*/ 2044 h 2044"/>
                  <a:gd name="T6" fmla="*/ 0 w 1304"/>
                  <a:gd name="T7" fmla="*/ 2044 h 2044"/>
                  <a:gd name="T8" fmla="*/ 0 w 1304"/>
                  <a:gd name="T9" fmla="*/ 582 h 20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04" h="2044">
                    <a:moveTo>
                      <a:pt x="0" y="582"/>
                    </a:moveTo>
                    <a:lnTo>
                      <a:pt x="1304" y="0"/>
                    </a:lnTo>
                    <a:lnTo>
                      <a:pt x="1304" y="2044"/>
                    </a:lnTo>
                    <a:lnTo>
                      <a:pt x="0" y="2044"/>
                    </a:lnTo>
                    <a:lnTo>
                      <a:pt x="0" y="582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95000"/>
                      <a:shade val="67500"/>
                      <a:satMod val="115000"/>
                    </a:schemeClr>
                  </a:gs>
                  <a:gs pos="33000">
                    <a:schemeClr val="bg1">
                      <a:lumMod val="95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14"/>
              <p:cNvSpPr>
                <a:spLocks/>
              </p:cNvSpPr>
              <p:nvPr/>
            </p:nvSpPr>
            <p:spPr bwMode="auto">
              <a:xfrm>
                <a:off x="1643063" y="977900"/>
                <a:ext cx="265113" cy="811213"/>
              </a:xfrm>
              <a:custGeom>
                <a:avLst/>
                <a:gdLst>
                  <a:gd name="T0" fmla="*/ 670 w 670"/>
                  <a:gd name="T1" fmla="*/ 582 h 2044"/>
                  <a:gd name="T2" fmla="*/ 509 w 670"/>
                  <a:gd name="T3" fmla="*/ 486 h 2044"/>
                  <a:gd name="T4" fmla="*/ 477 w 670"/>
                  <a:gd name="T5" fmla="*/ 378 h 2044"/>
                  <a:gd name="T6" fmla="*/ 0 w 670"/>
                  <a:gd name="T7" fmla="*/ 0 h 2044"/>
                  <a:gd name="T8" fmla="*/ 0 w 670"/>
                  <a:gd name="T9" fmla="*/ 2044 h 2044"/>
                  <a:gd name="T10" fmla="*/ 670 w 670"/>
                  <a:gd name="T11" fmla="*/ 2044 h 2044"/>
                  <a:gd name="T12" fmla="*/ 670 w 670"/>
                  <a:gd name="T13" fmla="*/ 582 h 20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70" h="2044">
                    <a:moveTo>
                      <a:pt x="670" y="582"/>
                    </a:moveTo>
                    <a:lnTo>
                      <a:pt x="509" y="486"/>
                    </a:lnTo>
                    <a:lnTo>
                      <a:pt x="477" y="378"/>
                    </a:lnTo>
                    <a:lnTo>
                      <a:pt x="0" y="0"/>
                    </a:lnTo>
                    <a:lnTo>
                      <a:pt x="0" y="2044"/>
                    </a:lnTo>
                    <a:lnTo>
                      <a:pt x="670" y="2044"/>
                    </a:lnTo>
                    <a:lnTo>
                      <a:pt x="670" y="582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15"/>
              <p:cNvSpPr>
                <a:spLocks noEditPoints="1"/>
              </p:cNvSpPr>
              <p:nvPr/>
            </p:nvSpPr>
            <p:spPr bwMode="auto">
              <a:xfrm>
                <a:off x="1157288" y="1073150"/>
                <a:ext cx="433388" cy="677863"/>
              </a:xfrm>
              <a:custGeom>
                <a:avLst/>
                <a:gdLst>
                  <a:gd name="T0" fmla="*/ 0 w 1089"/>
                  <a:gd name="T1" fmla="*/ 1589 h 1709"/>
                  <a:gd name="T2" fmla="*/ 238 w 1089"/>
                  <a:gd name="T3" fmla="*/ 1573 h 1709"/>
                  <a:gd name="T4" fmla="*/ 238 w 1089"/>
                  <a:gd name="T5" fmla="*/ 1697 h 1709"/>
                  <a:gd name="T6" fmla="*/ 0 w 1089"/>
                  <a:gd name="T7" fmla="*/ 1709 h 1709"/>
                  <a:gd name="T8" fmla="*/ 0 w 1089"/>
                  <a:gd name="T9" fmla="*/ 1589 h 1709"/>
                  <a:gd name="T10" fmla="*/ 296 w 1089"/>
                  <a:gd name="T11" fmla="*/ 1568 h 1709"/>
                  <a:gd name="T12" fmla="*/ 626 w 1089"/>
                  <a:gd name="T13" fmla="*/ 1546 h 1709"/>
                  <a:gd name="T14" fmla="*/ 626 w 1089"/>
                  <a:gd name="T15" fmla="*/ 1678 h 1709"/>
                  <a:gd name="T16" fmla="*/ 296 w 1089"/>
                  <a:gd name="T17" fmla="*/ 1694 h 1709"/>
                  <a:gd name="T18" fmla="*/ 296 w 1089"/>
                  <a:gd name="T19" fmla="*/ 1568 h 1709"/>
                  <a:gd name="T20" fmla="*/ 684 w 1089"/>
                  <a:gd name="T21" fmla="*/ 1542 h 1709"/>
                  <a:gd name="T22" fmla="*/ 1089 w 1089"/>
                  <a:gd name="T23" fmla="*/ 1515 h 1709"/>
                  <a:gd name="T24" fmla="*/ 1089 w 1089"/>
                  <a:gd name="T25" fmla="*/ 1655 h 1709"/>
                  <a:gd name="T26" fmla="*/ 684 w 1089"/>
                  <a:gd name="T27" fmla="*/ 1675 h 1709"/>
                  <a:gd name="T28" fmla="*/ 684 w 1089"/>
                  <a:gd name="T29" fmla="*/ 1542 h 1709"/>
                  <a:gd name="T30" fmla="*/ 0 w 1089"/>
                  <a:gd name="T31" fmla="*/ 441 h 1709"/>
                  <a:gd name="T32" fmla="*/ 1089 w 1089"/>
                  <a:gd name="T33" fmla="*/ 0 h 1709"/>
                  <a:gd name="T34" fmla="*/ 1089 w 1089"/>
                  <a:gd name="T35" fmla="*/ 142 h 1709"/>
                  <a:gd name="T36" fmla="*/ 0 w 1089"/>
                  <a:gd name="T37" fmla="*/ 583 h 1709"/>
                  <a:gd name="T38" fmla="*/ 0 w 1089"/>
                  <a:gd name="T39" fmla="*/ 441 h 1709"/>
                  <a:gd name="T40" fmla="*/ 0 w 1089"/>
                  <a:gd name="T41" fmla="*/ 748 h 1709"/>
                  <a:gd name="T42" fmla="*/ 1089 w 1089"/>
                  <a:gd name="T43" fmla="*/ 394 h 1709"/>
                  <a:gd name="T44" fmla="*/ 1089 w 1089"/>
                  <a:gd name="T45" fmla="*/ 535 h 1709"/>
                  <a:gd name="T46" fmla="*/ 0 w 1089"/>
                  <a:gd name="T47" fmla="*/ 889 h 1709"/>
                  <a:gd name="T48" fmla="*/ 0 w 1089"/>
                  <a:gd name="T49" fmla="*/ 748 h 1709"/>
                  <a:gd name="T50" fmla="*/ 0 w 1089"/>
                  <a:gd name="T51" fmla="*/ 1036 h 1709"/>
                  <a:gd name="T52" fmla="*/ 1089 w 1089"/>
                  <a:gd name="T53" fmla="*/ 771 h 1709"/>
                  <a:gd name="T54" fmla="*/ 1089 w 1089"/>
                  <a:gd name="T55" fmla="*/ 911 h 1709"/>
                  <a:gd name="T56" fmla="*/ 0 w 1089"/>
                  <a:gd name="T57" fmla="*/ 1178 h 1709"/>
                  <a:gd name="T58" fmla="*/ 0 w 1089"/>
                  <a:gd name="T59" fmla="*/ 1036 h 1709"/>
                  <a:gd name="T60" fmla="*/ 0 w 1089"/>
                  <a:gd name="T61" fmla="*/ 1317 h 1709"/>
                  <a:gd name="T62" fmla="*/ 1089 w 1089"/>
                  <a:gd name="T63" fmla="*/ 1147 h 1709"/>
                  <a:gd name="T64" fmla="*/ 1089 w 1089"/>
                  <a:gd name="T65" fmla="*/ 1288 h 1709"/>
                  <a:gd name="T66" fmla="*/ 0 w 1089"/>
                  <a:gd name="T67" fmla="*/ 1457 h 1709"/>
                  <a:gd name="T68" fmla="*/ 0 w 1089"/>
                  <a:gd name="T69" fmla="*/ 1317 h 17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89" h="1709">
                    <a:moveTo>
                      <a:pt x="0" y="1589"/>
                    </a:moveTo>
                    <a:lnTo>
                      <a:pt x="238" y="1573"/>
                    </a:lnTo>
                    <a:lnTo>
                      <a:pt x="238" y="1697"/>
                    </a:lnTo>
                    <a:lnTo>
                      <a:pt x="0" y="1709"/>
                    </a:lnTo>
                    <a:lnTo>
                      <a:pt x="0" y="1589"/>
                    </a:lnTo>
                    <a:close/>
                    <a:moveTo>
                      <a:pt x="296" y="1568"/>
                    </a:moveTo>
                    <a:lnTo>
                      <a:pt x="626" y="1546"/>
                    </a:lnTo>
                    <a:lnTo>
                      <a:pt x="626" y="1678"/>
                    </a:lnTo>
                    <a:lnTo>
                      <a:pt x="296" y="1694"/>
                    </a:lnTo>
                    <a:lnTo>
                      <a:pt x="296" y="1568"/>
                    </a:lnTo>
                    <a:close/>
                    <a:moveTo>
                      <a:pt x="684" y="1542"/>
                    </a:moveTo>
                    <a:lnTo>
                      <a:pt x="1089" y="1515"/>
                    </a:lnTo>
                    <a:lnTo>
                      <a:pt x="1089" y="1655"/>
                    </a:lnTo>
                    <a:lnTo>
                      <a:pt x="684" y="1675"/>
                    </a:lnTo>
                    <a:lnTo>
                      <a:pt x="684" y="1542"/>
                    </a:lnTo>
                    <a:close/>
                    <a:moveTo>
                      <a:pt x="0" y="441"/>
                    </a:moveTo>
                    <a:lnTo>
                      <a:pt x="1089" y="0"/>
                    </a:lnTo>
                    <a:lnTo>
                      <a:pt x="1089" y="142"/>
                    </a:lnTo>
                    <a:lnTo>
                      <a:pt x="0" y="583"/>
                    </a:lnTo>
                    <a:lnTo>
                      <a:pt x="0" y="441"/>
                    </a:lnTo>
                    <a:close/>
                    <a:moveTo>
                      <a:pt x="0" y="748"/>
                    </a:moveTo>
                    <a:lnTo>
                      <a:pt x="1089" y="394"/>
                    </a:lnTo>
                    <a:lnTo>
                      <a:pt x="1089" y="535"/>
                    </a:lnTo>
                    <a:lnTo>
                      <a:pt x="0" y="889"/>
                    </a:lnTo>
                    <a:lnTo>
                      <a:pt x="0" y="748"/>
                    </a:lnTo>
                    <a:close/>
                    <a:moveTo>
                      <a:pt x="0" y="1036"/>
                    </a:moveTo>
                    <a:lnTo>
                      <a:pt x="1089" y="771"/>
                    </a:lnTo>
                    <a:lnTo>
                      <a:pt x="1089" y="911"/>
                    </a:lnTo>
                    <a:lnTo>
                      <a:pt x="0" y="1178"/>
                    </a:lnTo>
                    <a:lnTo>
                      <a:pt x="0" y="1036"/>
                    </a:lnTo>
                    <a:close/>
                    <a:moveTo>
                      <a:pt x="0" y="1317"/>
                    </a:moveTo>
                    <a:lnTo>
                      <a:pt x="1089" y="1147"/>
                    </a:lnTo>
                    <a:lnTo>
                      <a:pt x="1089" y="1288"/>
                    </a:lnTo>
                    <a:lnTo>
                      <a:pt x="0" y="1457"/>
                    </a:lnTo>
                    <a:lnTo>
                      <a:pt x="0" y="1317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ffectLst>
                <a:innerShdw blurRad="25400">
                  <a:prstClr val="black">
                    <a:alpha val="28000"/>
                  </a:prstClr>
                </a:inn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889036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3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665447" y="545535"/>
            <a:ext cx="7994132" cy="3631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「공단 對 심평원 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갈등 해소모색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」 ② 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진료비 청구심사권 분쟁</a:t>
            </a:r>
            <a:endParaRPr lang="en-US" sz="22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56351" y="1228620"/>
            <a:ext cx="847032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현행법상 건강보험 진료비 청구심사권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심평원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권한</a:t>
            </a:r>
            <a:r>
              <a:rPr lang="en-US" altLang="ko-KR" sz="1500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500" dirty="0">
                <a:latin typeface="휴먼고딕" panose="02010504000101010101" pitchFamily="2" charset="-127"/>
                <a:ea typeface="휴먼고딕" panose="02010504000101010101" pitchFamily="2" charset="-127"/>
              </a:rPr>
              <a:t>국민건강보험법 제</a:t>
            </a:r>
            <a:r>
              <a:rPr lang="en-US" altLang="ko-KR" sz="1500" dirty="0">
                <a:latin typeface="휴먼고딕" panose="02010504000101010101" pitchFamily="2" charset="-127"/>
                <a:ea typeface="휴먼고딕" panose="02010504000101010101" pitchFamily="2" charset="-127"/>
              </a:rPr>
              <a:t>47</a:t>
            </a:r>
            <a:r>
              <a:rPr lang="ko-KR" altLang="en-US" sz="1500" dirty="0">
                <a:latin typeface="휴먼고딕" panose="02010504000101010101" pitchFamily="2" charset="-127"/>
                <a:ea typeface="휴먼고딕" panose="02010504000101010101" pitchFamily="2" charset="-127"/>
              </a:rPr>
              <a:t>조 ①항</a:t>
            </a:r>
            <a:r>
              <a:rPr lang="en-US" altLang="ko-KR" sz="1500" dirty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endParaRPr lang="ko-KR" altLang="en-US" sz="15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&lt;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건강보험공단</a:t>
            </a:r>
            <a:r>
              <a:rPr lang="en-US" altLang="ko-KR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&gt;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건강보험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청구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심평원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와 지급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건보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기관 분리 때문에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부정수급 발생 입장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-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건강보험공단으로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청구업무와 지급업무를 통합할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경우 → </a:t>
            </a:r>
            <a:r>
              <a:rPr lang="ko-KR" altLang="en-US" sz="1400" b="1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年 </a:t>
            </a:r>
            <a:r>
              <a:rPr lang="en-US" altLang="ko-KR" sz="1400" b="1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2</a:t>
            </a:r>
            <a:r>
              <a:rPr lang="ko-KR" altLang="en-US" sz="1400" b="1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조 내외 재정절감 주장 </a:t>
            </a:r>
          </a:p>
          <a:p>
            <a:pPr fontAlgn="base">
              <a:lnSpc>
                <a:spcPct val="150000"/>
              </a:lnSpc>
            </a:pPr>
            <a:r>
              <a:rPr lang="en-US" altLang="ko-KR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&lt;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심평원</a:t>
            </a:r>
            <a:r>
              <a:rPr lang="en-US" altLang="ko-KR" sz="16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&gt;</a:t>
            </a:r>
            <a:r>
              <a:rPr lang="en-US" altLang="ko-KR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건보로부터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무자격자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정보 등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통보 받아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심사에 반영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재정절감액은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추정 수치일 뿐 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710500" y="5589239"/>
            <a:ext cx="8216176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「의료비용과 안전</a:t>
            </a:r>
            <a:r>
              <a:rPr lang="en-US" altLang="ko-KR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적정 의료서비스 질」 등 확보 위한</a:t>
            </a:r>
            <a:r>
              <a:rPr lang="en-US" altLang="ko-KR" sz="2100" dirty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국민의료 </a:t>
            </a:r>
            <a:endParaRPr lang="en-US" altLang="ko-KR" sz="2100" dirty="0" smtClean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21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 </a:t>
            </a: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통합관리 </a:t>
            </a:r>
            <a:r>
              <a:rPr lang="ko-KR" altLang="en-US" sz="21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거버넌스</a:t>
            </a: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 </a:t>
            </a: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구축 해</a:t>
            </a:r>
            <a:r>
              <a:rPr lang="ko-KR" altLang="en-US" sz="2100" dirty="0">
                <a:latin typeface="HY견고딕" panose="02030600000101010101" pitchFamily="18" charset="-127"/>
                <a:ea typeface="HY견고딕" panose="02030600000101010101" pitchFamily="18" charset="-127"/>
              </a:rPr>
              <a:t>야</a:t>
            </a:r>
          </a:p>
        </p:txBody>
      </p:sp>
      <p:sp>
        <p:nvSpPr>
          <p:cNvPr id="24" name="오른쪽 화살표 23"/>
          <p:cNvSpPr/>
          <p:nvPr/>
        </p:nvSpPr>
        <p:spPr>
          <a:xfrm>
            <a:off x="4554501" y="140046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오른쪽 화살표 25"/>
          <p:cNvSpPr/>
          <p:nvPr/>
        </p:nvSpPr>
        <p:spPr>
          <a:xfrm>
            <a:off x="446171" y="5713421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9" name="오른쪽 화살표 28"/>
          <p:cNvSpPr/>
          <p:nvPr/>
        </p:nvSpPr>
        <p:spPr>
          <a:xfrm>
            <a:off x="6019568" y="249289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7" name="그림 2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3104" y="116632"/>
            <a:ext cx="267142" cy="257486"/>
          </a:xfrm>
          <a:prstGeom prst="rect">
            <a:avLst/>
          </a:prstGeom>
        </p:spPr>
      </p:pic>
      <p:pic>
        <p:nvPicPr>
          <p:cNvPr id="28" name="그림 2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9078" y="116632"/>
            <a:ext cx="260002" cy="257486"/>
          </a:xfrm>
          <a:prstGeom prst="rect">
            <a:avLst/>
          </a:prstGeom>
        </p:spPr>
      </p:pic>
      <p:grpSp>
        <p:nvGrpSpPr>
          <p:cNvPr id="2" name="그룹 1"/>
          <p:cNvGrpSpPr/>
          <p:nvPr/>
        </p:nvGrpSpPr>
        <p:grpSpPr>
          <a:xfrm>
            <a:off x="-8274" y="-81403"/>
            <a:ext cx="1120288" cy="1236229"/>
            <a:chOff x="-8274" y="-81403"/>
            <a:chExt cx="1120288" cy="1236229"/>
          </a:xfrm>
        </p:grpSpPr>
        <p:grpSp>
          <p:nvGrpSpPr>
            <p:cNvPr id="25" name="Group 50"/>
            <p:cNvGrpSpPr/>
            <p:nvPr/>
          </p:nvGrpSpPr>
          <p:grpSpPr>
            <a:xfrm>
              <a:off x="-1122" y="-81403"/>
              <a:ext cx="1113136" cy="1236229"/>
              <a:chOff x="-9097" y="-96310"/>
              <a:chExt cx="974935" cy="1025474"/>
            </a:xfrm>
          </p:grpSpPr>
          <p:sp>
            <p:nvSpPr>
              <p:cNvPr id="31" name="Diagonal Stripe 51"/>
              <p:cNvSpPr/>
              <p:nvPr/>
            </p:nvSpPr>
            <p:spPr>
              <a:xfrm>
                <a:off x="-7091" y="-23336"/>
                <a:ext cx="972929" cy="952500"/>
              </a:xfrm>
              <a:prstGeom prst="diagStripe">
                <a:avLst>
                  <a:gd name="adj" fmla="val 61073"/>
                </a:avLst>
              </a:pr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3400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12700" dir="5400000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2" name="TextBox 31"/>
              <p:cNvSpPr txBox="1"/>
              <p:nvPr/>
            </p:nvSpPr>
            <p:spPr>
              <a:xfrm rot="18886281">
                <a:off x="58852" y="187690"/>
                <a:ext cx="770174" cy="2021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7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국회의원</a:t>
                </a:r>
                <a:r>
                  <a:rPr lang="ko-KR" altLang="en-US" sz="9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 이명수</a:t>
                </a:r>
                <a:endParaRPr lang="en-US" sz="900" dirty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endParaRPr>
              </a:p>
            </p:txBody>
          </p:sp>
          <p:cxnSp>
            <p:nvCxnSpPr>
              <p:cNvPr id="33" name="Straight Connector 53"/>
              <p:cNvCxnSpPr/>
              <p:nvPr/>
            </p:nvCxnSpPr>
            <p:spPr>
              <a:xfrm flipH="1">
                <a:off x="-9097" y="-22860"/>
                <a:ext cx="623270" cy="623272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54"/>
              <p:cNvCxnSpPr/>
              <p:nvPr/>
            </p:nvCxnSpPr>
            <p:spPr>
              <a:xfrm flipH="1">
                <a:off x="-7091" y="-22860"/>
                <a:ext cx="921493" cy="893213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5" name="그림 34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66808">
              <a:off x="-8274" y="724510"/>
              <a:ext cx="252257" cy="120873"/>
            </a:xfrm>
            <a:prstGeom prst="rect">
              <a:avLst/>
            </a:prstGeom>
          </p:spPr>
        </p:pic>
      </p:grpSp>
      <p:grpSp>
        <p:nvGrpSpPr>
          <p:cNvPr id="4" name="그룹 3"/>
          <p:cNvGrpSpPr/>
          <p:nvPr/>
        </p:nvGrpSpPr>
        <p:grpSpPr>
          <a:xfrm>
            <a:off x="852832" y="2975502"/>
            <a:ext cx="5525604" cy="2457470"/>
            <a:chOff x="656474" y="2892543"/>
            <a:chExt cx="6910403" cy="3308191"/>
          </a:xfrm>
        </p:grpSpPr>
        <p:grpSp>
          <p:nvGrpSpPr>
            <p:cNvPr id="67" name="Group 75"/>
            <p:cNvGrpSpPr/>
            <p:nvPr/>
          </p:nvGrpSpPr>
          <p:grpSpPr>
            <a:xfrm flipH="1" flipV="1">
              <a:off x="5410882" y="2892543"/>
              <a:ext cx="1289022" cy="1211776"/>
              <a:chOff x="2921000" y="2133600"/>
              <a:chExt cx="3215276" cy="3022600"/>
            </a:xfrm>
          </p:grpSpPr>
          <p:sp>
            <p:nvSpPr>
              <p:cNvPr id="68" name="Oval 76"/>
              <p:cNvSpPr/>
              <p:nvPr/>
            </p:nvSpPr>
            <p:spPr>
              <a:xfrm>
                <a:off x="2921000" y="2133600"/>
                <a:ext cx="3022600" cy="3022600"/>
              </a:xfrm>
              <a:prstGeom prst="ellipse">
                <a:avLst/>
              </a:prstGeom>
              <a:solidFill>
                <a:srgbClr val="09497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/>
              </a:p>
            </p:txBody>
          </p:sp>
          <p:sp>
            <p:nvSpPr>
              <p:cNvPr id="69" name="Oval 85"/>
              <p:cNvSpPr/>
              <p:nvPr/>
            </p:nvSpPr>
            <p:spPr>
              <a:xfrm>
                <a:off x="3060700" y="2273300"/>
                <a:ext cx="2743200" cy="2743200"/>
              </a:xfrm>
              <a:prstGeom prst="ellipse">
                <a:avLst/>
              </a:prstGeom>
              <a:solidFill>
                <a:srgbClr val="0D65AC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70" name="Rectangle 9"/>
              <p:cNvSpPr/>
              <p:nvPr/>
            </p:nvSpPr>
            <p:spPr>
              <a:xfrm rot="19648260">
                <a:off x="3394415" y="3426950"/>
                <a:ext cx="2741861" cy="1505221"/>
              </a:xfrm>
              <a:custGeom>
                <a:avLst/>
                <a:gdLst/>
                <a:ahLst/>
                <a:cxnLst/>
                <a:rect l="l" t="t" r="r" b="b"/>
                <a:pathLst>
                  <a:path w="2741861" h="1505221">
                    <a:moveTo>
                      <a:pt x="2734764" y="0"/>
                    </a:moveTo>
                    <a:cubicBezTo>
                      <a:pt x="2765019" y="294974"/>
                      <a:pt x="2699041" y="601602"/>
                      <a:pt x="2527228" y="870995"/>
                    </a:cubicBezTo>
                    <a:cubicBezTo>
                      <a:pt x="2119892" y="1509670"/>
                      <a:pt x="1271934" y="1697207"/>
                      <a:pt x="633259" y="1289872"/>
                    </a:cubicBezTo>
                    <a:cubicBezTo>
                      <a:pt x="183232" y="1002853"/>
                      <a:pt x="-42806" y="497065"/>
                      <a:pt x="6713" y="0"/>
                    </a:cubicBezTo>
                    <a:close/>
                  </a:path>
                </a:pathLst>
              </a:custGeom>
              <a:solidFill>
                <a:schemeClr val="bg1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71" name="Group 87"/>
            <p:cNvGrpSpPr/>
            <p:nvPr/>
          </p:nvGrpSpPr>
          <p:grpSpPr>
            <a:xfrm flipH="1" flipV="1">
              <a:off x="701099" y="2907847"/>
              <a:ext cx="1298471" cy="1220659"/>
              <a:chOff x="2921000" y="2133600"/>
              <a:chExt cx="3215276" cy="3022600"/>
            </a:xfrm>
          </p:grpSpPr>
          <p:sp>
            <p:nvSpPr>
              <p:cNvPr id="72" name="Oval 88"/>
              <p:cNvSpPr/>
              <p:nvPr/>
            </p:nvSpPr>
            <p:spPr>
              <a:xfrm>
                <a:off x="2921000" y="2133600"/>
                <a:ext cx="3022600" cy="3022600"/>
              </a:xfrm>
              <a:prstGeom prst="ellipse">
                <a:avLst/>
              </a:prstGeom>
              <a:solidFill>
                <a:srgbClr val="B80E1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/>
              </a:p>
            </p:txBody>
          </p:sp>
          <p:sp>
            <p:nvSpPr>
              <p:cNvPr id="73" name="Oval 89"/>
              <p:cNvSpPr/>
              <p:nvPr/>
            </p:nvSpPr>
            <p:spPr>
              <a:xfrm>
                <a:off x="3060700" y="2273300"/>
                <a:ext cx="2743200" cy="2743200"/>
              </a:xfrm>
              <a:prstGeom prst="ellipse">
                <a:avLst/>
              </a:prstGeom>
              <a:solidFill>
                <a:srgbClr val="B80E18"/>
              </a:solidFill>
              <a:ln w="12700">
                <a:solidFill>
                  <a:srgbClr val="EC202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/>
              </a:p>
            </p:txBody>
          </p:sp>
          <p:sp>
            <p:nvSpPr>
              <p:cNvPr id="74" name="Rectangle 9"/>
              <p:cNvSpPr/>
              <p:nvPr/>
            </p:nvSpPr>
            <p:spPr>
              <a:xfrm rot="19648260">
                <a:off x="3394415" y="3426950"/>
                <a:ext cx="2741861" cy="1505221"/>
              </a:xfrm>
              <a:custGeom>
                <a:avLst/>
                <a:gdLst/>
                <a:ahLst/>
                <a:cxnLst/>
                <a:rect l="l" t="t" r="r" b="b"/>
                <a:pathLst>
                  <a:path w="2741861" h="1505221">
                    <a:moveTo>
                      <a:pt x="2734764" y="0"/>
                    </a:moveTo>
                    <a:cubicBezTo>
                      <a:pt x="2765019" y="294974"/>
                      <a:pt x="2699041" y="601602"/>
                      <a:pt x="2527228" y="870995"/>
                    </a:cubicBezTo>
                    <a:cubicBezTo>
                      <a:pt x="2119892" y="1509670"/>
                      <a:pt x="1271934" y="1697207"/>
                      <a:pt x="633259" y="1289872"/>
                    </a:cubicBezTo>
                    <a:cubicBezTo>
                      <a:pt x="183232" y="1002853"/>
                      <a:pt x="-42806" y="497065"/>
                      <a:pt x="6713" y="0"/>
                    </a:cubicBezTo>
                    <a:close/>
                  </a:path>
                </a:pathLst>
              </a:custGeom>
              <a:solidFill>
                <a:srgbClr val="DB131E">
                  <a:alpha val="5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600" dirty="0"/>
              </a:p>
            </p:txBody>
          </p:sp>
        </p:grpSp>
        <p:grpSp>
          <p:nvGrpSpPr>
            <p:cNvPr id="75" name="Group 91"/>
            <p:cNvGrpSpPr/>
            <p:nvPr/>
          </p:nvGrpSpPr>
          <p:grpSpPr>
            <a:xfrm flipH="1" flipV="1">
              <a:off x="656474" y="4927549"/>
              <a:ext cx="1343096" cy="1262609"/>
              <a:chOff x="2921000" y="2133600"/>
              <a:chExt cx="3215276" cy="3022600"/>
            </a:xfrm>
          </p:grpSpPr>
          <p:sp>
            <p:nvSpPr>
              <p:cNvPr id="76" name="Oval 92"/>
              <p:cNvSpPr/>
              <p:nvPr/>
            </p:nvSpPr>
            <p:spPr>
              <a:xfrm>
                <a:off x="2921000" y="2133600"/>
                <a:ext cx="3022600" cy="3022600"/>
              </a:xfrm>
              <a:prstGeom prst="ellipse">
                <a:avLst/>
              </a:prstGeom>
              <a:solidFill>
                <a:srgbClr val="227F1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/>
              </a:p>
            </p:txBody>
          </p:sp>
          <p:sp>
            <p:nvSpPr>
              <p:cNvPr id="77" name="Oval 93"/>
              <p:cNvSpPr/>
              <p:nvPr/>
            </p:nvSpPr>
            <p:spPr>
              <a:xfrm>
                <a:off x="3060700" y="2273300"/>
                <a:ext cx="2743200" cy="2743200"/>
              </a:xfrm>
              <a:prstGeom prst="ellipse">
                <a:avLst/>
              </a:prstGeom>
              <a:solidFill>
                <a:srgbClr val="2A9B18"/>
              </a:solidFill>
              <a:ln w="12700">
                <a:solidFill>
                  <a:srgbClr val="23A50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/>
              </a:p>
            </p:txBody>
          </p:sp>
          <p:sp>
            <p:nvSpPr>
              <p:cNvPr id="78" name="Rectangle 9"/>
              <p:cNvSpPr/>
              <p:nvPr/>
            </p:nvSpPr>
            <p:spPr>
              <a:xfrm rot="19648260">
                <a:off x="3394415" y="3426950"/>
                <a:ext cx="2741861" cy="1505221"/>
              </a:xfrm>
              <a:custGeom>
                <a:avLst/>
                <a:gdLst/>
                <a:ahLst/>
                <a:cxnLst/>
                <a:rect l="l" t="t" r="r" b="b"/>
                <a:pathLst>
                  <a:path w="2741861" h="1505221">
                    <a:moveTo>
                      <a:pt x="2734764" y="0"/>
                    </a:moveTo>
                    <a:cubicBezTo>
                      <a:pt x="2765019" y="294974"/>
                      <a:pt x="2699041" y="601602"/>
                      <a:pt x="2527228" y="870995"/>
                    </a:cubicBezTo>
                    <a:cubicBezTo>
                      <a:pt x="2119892" y="1509670"/>
                      <a:pt x="1271934" y="1697207"/>
                      <a:pt x="633259" y="1289872"/>
                    </a:cubicBezTo>
                    <a:cubicBezTo>
                      <a:pt x="183232" y="1002853"/>
                      <a:pt x="-42806" y="497065"/>
                      <a:pt x="6713" y="0"/>
                    </a:cubicBezTo>
                    <a:close/>
                  </a:path>
                </a:pathLst>
              </a:custGeom>
              <a:solidFill>
                <a:srgbClr val="23A50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/>
              </a:p>
            </p:txBody>
          </p:sp>
        </p:grpSp>
        <p:sp>
          <p:nvSpPr>
            <p:cNvPr id="79" name="Rektangel 76"/>
            <p:cNvSpPr>
              <a:spLocks noChangeArrowheads="1"/>
            </p:cNvSpPr>
            <p:nvPr/>
          </p:nvSpPr>
          <p:spPr bwMode="auto">
            <a:xfrm>
              <a:off x="918463" y="3161776"/>
              <a:ext cx="941553" cy="7043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ko-KR" altLang="en-US" sz="1400" noProof="1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HY견고딕" panose="02030600000101010101" pitchFamily="18" charset="-127"/>
                  <a:ea typeface="HY견고딕" panose="02030600000101010101" pitchFamily="18" charset="-127"/>
                  <a:cs typeface="Arial" charset="0"/>
                </a:rPr>
                <a:t>요양</a:t>
              </a:r>
              <a:endParaRPr lang="en-US" altLang="ko-KR" sz="1400" noProof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  <a:cs typeface="Arial" charset="0"/>
              </a:endParaRPr>
            </a:p>
            <a:p>
              <a:pPr algn="ctr"/>
              <a:r>
                <a:rPr lang="ko-KR" altLang="en-US" sz="1400" noProof="1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HY견고딕" panose="02030600000101010101" pitchFamily="18" charset="-127"/>
                  <a:ea typeface="HY견고딕" panose="02030600000101010101" pitchFamily="18" charset="-127"/>
                  <a:cs typeface="Arial" charset="0"/>
                </a:rPr>
                <a:t>기관</a:t>
              </a:r>
              <a:endParaRPr lang="en-US" sz="1400" noProof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  <a:cs typeface="Arial" charset="0"/>
              </a:endParaRPr>
            </a:p>
          </p:txBody>
        </p:sp>
        <p:sp>
          <p:nvSpPr>
            <p:cNvPr id="80" name="TextBox 57"/>
            <p:cNvSpPr txBox="1"/>
            <p:nvPr/>
          </p:nvSpPr>
          <p:spPr>
            <a:xfrm>
              <a:off x="2144209" y="5197527"/>
              <a:ext cx="1131648" cy="276999"/>
            </a:xfrm>
            <a:prstGeom prst="rect">
              <a:avLst/>
            </a:prstGeom>
            <a:solidFill>
              <a:srgbClr val="0D65AC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tIns="45720" bIns="45720" rtlCol="0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spcAft>
                  <a:spcPts val="600"/>
                </a:spcAft>
              </a:pP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81" name="TextBox 58"/>
            <p:cNvSpPr txBox="1"/>
            <p:nvPr/>
          </p:nvSpPr>
          <p:spPr>
            <a:xfrm>
              <a:off x="2144208" y="5486977"/>
              <a:ext cx="1131649" cy="713757"/>
            </a:xfrm>
            <a:prstGeom prst="rect">
              <a:avLst/>
            </a:prstGeom>
            <a:solidFill>
              <a:srgbClr val="D5D5D5"/>
            </a:solidFill>
            <a:ln w="317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tIns="91440" bIns="91440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ko-KR" sz="800" dirty="0" smtClean="0"/>
                <a:t>·</a:t>
              </a:r>
              <a:r>
                <a:rPr lang="ko-KR" altLang="en-US" sz="800" dirty="0" smtClean="0"/>
                <a:t>자격 취득</a:t>
              </a:r>
              <a:r>
                <a:rPr lang="en-US" altLang="ko-KR" sz="800" dirty="0" smtClean="0"/>
                <a:t>/</a:t>
              </a:r>
              <a:r>
                <a:rPr lang="ko-KR" altLang="en-US" sz="800" dirty="0" smtClean="0"/>
                <a:t>상실</a:t>
              </a:r>
              <a:endParaRPr lang="en-US" altLang="ko-KR" sz="800" dirty="0" smtClean="0"/>
            </a:p>
            <a:p>
              <a:pPr>
                <a:lnSpc>
                  <a:spcPct val="150000"/>
                </a:lnSpc>
              </a:pPr>
              <a:r>
                <a:rPr lang="en-US" altLang="ko-KR" sz="800" spc="-150" dirty="0" smtClean="0"/>
                <a:t>· </a:t>
              </a:r>
              <a:r>
                <a:rPr lang="ko-KR" altLang="en-US" sz="800" spc="-150" dirty="0" smtClean="0"/>
                <a:t>급여정비</a:t>
              </a:r>
              <a:r>
                <a:rPr lang="en-US" altLang="ko-KR" sz="800" spc="-150" dirty="0" smtClean="0"/>
                <a:t>(</a:t>
              </a:r>
              <a:r>
                <a:rPr lang="ko-KR" altLang="en-US" sz="800" spc="-150" dirty="0" smtClean="0"/>
                <a:t>제한</a:t>
              </a:r>
              <a:r>
                <a:rPr lang="en-US" altLang="ko-KR" sz="800" spc="-150" dirty="0" smtClean="0"/>
                <a:t>)</a:t>
              </a:r>
              <a:r>
                <a:rPr lang="ko-KR" altLang="en-US" sz="800" spc="-150" dirty="0" smtClean="0"/>
                <a:t>관리</a:t>
              </a:r>
              <a:endParaRPr lang="en-US" sz="800" spc="-150" dirty="0"/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4884341" y="4450006"/>
              <a:ext cx="1181610" cy="276999"/>
            </a:xfrm>
            <a:prstGeom prst="rect">
              <a:avLst/>
            </a:prstGeom>
            <a:solidFill>
              <a:srgbClr val="DB131E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tIns="45720" bIns="45720" rtlCol="0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spcAft>
                  <a:spcPts val="600"/>
                </a:spcAft>
              </a:pP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83" name="TextBox 82"/>
            <p:cNvSpPr txBox="1"/>
            <p:nvPr/>
          </p:nvSpPr>
          <p:spPr>
            <a:xfrm>
              <a:off x="4884340" y="4682014"/>
              <a:ext cx="1181610" cy="828644"/>
            </a:xfrm>
            <a:prstGeom prst="rect">
              <a:avLst/>
            </a:prstGeom>
            <a:solidFill>
              <a:srgbClr val="D5D5D5"/>
            </a:solidFill>
            <a:ln w="317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tIns="91440" bIns="91440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ko-KR" sz="700" dirty="0" smtClean="0">
                  <a:latin typeface="+mn-ea"/>
                </a:rPr>
                <a:t>·</a:t>
              </a:r>
              <a:r>
                <a:rPr lang="ko-KR" altLang="en-US" sz="700" dirty="0" smtClean="0">
                  <a:latin typeface="+mn-ea"/>
                </a:rPr>
                <a:t>자격정보 구축</a:t>
              </a:r>
              <a:endParaRPr lang="en-US" altLang="ko-KR" sz="700" dirty="0" smtClean="0">
                <a:latin typeface="+mn-ea"/>
              </a:endParaRPr>
            </a:p>
            <a:p>
              <a:r>
                <a:rPr lang="en-US" altLang="ko-KR" sz="700" dirty="0" smtClean="0">
                  <a:latin typeface="+mn-ea"/>
                </a:rPr>
                <a:t>·</a:t>
              </a:r>
              <a:r>
                <a:rPr lang="ko-KR" altLang="en-US" sz="700" dirty="0" smtClean="0">
                  <a:latin typeface="+mn-ea"/>
                </a:rPr>
                <a:t>자격사항 점검</a:t>
              </a:r>
              <a:endParaRPr lang="en-US" altLang="ko-KR" sz="700" dirty="0" smtClean="0">
                <a:latin typeface="+mn-ea"/>
              </a:endParaRPr>
            </a:p>
            <a:p>
              <a:r>
                <a:rPr lang="en-US" altLang="ko-KR" sz="700" dirty="0" smtClean="0">
                  <a:latin typeface="+mn-ea"/>
                </a:rPr>
                <a:t>·</a:t>
              </a:r>
              <a:r>
                <a:rPr lang="ko-KR" altLang="en-US" sz="700" dirty="0" smtClean="0">
                  <a:latin typeface="+mn-ea"/>
                </a:rPr>
                <a:t>점검결과 </a:t>
              </a:r>
              <a:r>
                <a:rPr lang="ko-KR" altLang="en-US" sz="700" spc="-150" dirty="0" smtClean="0">
                  <a:latin typeface="+mn-ea"/>
                </a:rPr>
                <a:t>확인</a:t>
              </a:r>
              <a:r>
                <a:rPr lang="en-US" altLang="ko-KR" sz="700" spc="-150" dirty="0" smtClean="0">
                  <a:latin typeface="+mn-ea"/>
                </a:rPr>
                <a:t>/</a:t>
              </a:r>
              <a:r>
                <a:rPr lang="ko-KR" altLang="en-US" sz="700" spc="-150" dirty="0" smtClean="0">
                  <a:latin typeface="+mn-ea"/>
                </a:rPr>
                <a:t>누적</a:t>
              </a:r>
              <a:endParaRPr lang="en-US" altLang="ko-KR" sz="700" spc="-150" dirty="0" smtClean="0">
                <a:latin typeface="+mn-ea"/>
              </a:endParaRPr>
            </a:p>
            <a:p>
              <a:r>
                <a:rPr lang="en-US" altLang="ko-KR" sz="700" dirty="0" smtClean="0">
                  <a:latin typeface="+mn-ea"/>
                </a:rPr>
                <a:t>·</a:t>
              </a:r>
              <a:r>
                <a:rPr lang="ko-KR" altLang="en-US" sz="700" dirty="0" smtClean="0">
                  <a:latin typeface="+mn-ea"/>
                </a:rPr>
                <a:t>자료생성</a:t>
              </a:r>
              <a:endParaRPr lang="en-US" sz="700" dirty="0">
                <a:latin typeface="+mn-ea"/>
              </a:endParaRPr>
            </a:p>
          </p:txBody>
        </p:sp>
        <p:sp>
          <p:nvSpPr>
            <p:cNvPr id="84" name="TextBox 65"/>
            <p:cNvSpPr txBox="1"/>
            <p:nvPr/>
          </p:nvSpPr>
          <p:spPr>
            <a:xfrm>
              <a:off x="6122057" y="4450004"/>
              <a:ext cx="1181610" cy="276999"/>
            </a:xfrm>
            <a:prstGeom prst="rect">
              <a:avLst/>
            </a:prstGeom>
            <a:solidFill>
              <a:srgbClr val="F0B71F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tIns="45720" bIns="45720" rtlCol="0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spcAft>
                  <a:spcPts val="600"/>
                </a:spcAft>
              </a:pP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85" name="TextBox 66"/>
            <p:cNvSpPr txBox="1"/>
            <p:nvPr/>
          </p:nvSpPr>
          <p:spPr>
            <a:xfrm>
              <a:off x="6122057" y="4682013"/>
              <a:ext cx="1181610" cy="828644"/>
            </a:xfrm>
            <a:prstGeom prst="rect">
              <a:avLst/>
            </a:prstGeom>
            <a:solidFill>
              <a:srgbClr val="D5D5D5"/>
            </a:solidFill>
            <a:ln w="317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tIns="91440" bIns="91440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ko-KR" sz="700" dirty="0" smtClean="0">
                  <a:latin typeface="+mn-ea"/>
                </a:rPr>
                <a:t>·</a:t>
              </a:r>
              <a:r>
                <a:rPr lang="ko-KR" altLang="en-US" sz="700" dirty="0" smtClean="0">
                  <a:latin typeface="+mn-ea"/>
                </a:rPr>
                <a:t>산정 적정성</a:t>
              </a:r>
              <a:endParaRPr lang="en-US" altLang="ko-KR" sz="700" dirty="0" smtClean="0">
                <a:latin typeface="+mn-ea"/>
              </a:endParaRPr>
            </a:p>
            <a:p>
              <a:r>
                <a:rPr lang="en-US" altLang="ko-KR" sz="700" dirty="0" smtClean="0">
                  <a:latin typeface="+mn-ea"/>
                </a:rPr>
                <a:t>·</a:t>
              </a:r>
              <a:r>
                <a:rPr lang="ko-KR" altLang="en-US" sz="700" dirty="0" smtClean="0">
                  <a:latin typeface="+mn-ea"/>
                </a:rPr>
                <a:t>의약학적 타당성</a:t>
              </a:r>
              <a:endParaRPr lang="en-US" altLang="ko-KR" sz="700" dirty="0" smtClean="0">
                <a:latin typeface="+mn-ea"/>
              </a:endParaRPr>
            </a:p>
            <a:p>
              <a:r>
                <a:rPr lang="en-US" sz="700" dirty="0">
                  <a:latin typeface="+mn-ea"/>
                </a:rPr>
                <a:t> </a:t>
              </a:r>
              <a:r>
                <a:rPr lang="ko-KR" altLang="en-US" sz="700" dirty="0" smtClean="0">
                  <a:latin typeface="+mn-ea"/>
                </a:rPr>
                <a:t>심사</a:t>
              </a:r>
              <a:endParaRPr lang="en-US" altLang="ko-KR" sz="700" dirty="0" smtClean="0">
                <a:latin typeface="+mn-ea"/>
              </a:endParaRPr>
            </a:p>
            <a:p>
              <a:endParaRPr lang="en-US" sz="700" dirty="0">
                <a:latin typeface="+mn-ea"/>
              </a:endParaRPr>
            </a:p>
          </p:txBody>
        </p:sp>
        <p:sp>
          <p:nvSpPr>
            <p:cNvPr id="86" name="Rektangel 76"/>
            <p:cNvSpPr>
              <a:spLocks noChangeArrowheads="1"/>
            </p:cNvSpPr>
            <p:nvPr/>
          </p:nvSpPr>
          <p:spPr bwMode="auto">
            <a:xfrm>
              <a:off x="897488" y="5235687"/>
              <a:ext cx="941553" cy="7043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ko-KR" altLang="en-US" sz="1400" noProof="1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HY견고딕" panose="02030600000101010101" pitchFamily="18" charset="-127"/>
                  <a:ea typeface="HY견고딕" panose="02030600000101010101" pitchFamily="18" charset="-127"/>
                  <a:cs typeface="Arial" charset="0"/>
                </a:rPr>
                <a:t>건보</a:t>
              </a:r>
              <a:endParaRPr lang="en-US" altLang="ko-KR" sz="1400" noProof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  <a:cs typeface="Arial" charset="0"/>
              </a:endParaRPr>
            </a:p>
            <a:p>
              <a:pPr algn="ctr"/>
              <a:r>
                <a:rPr lang="ko-KR" altLang="en-US" sz="1400" noProof="1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HY견고딕" panose="02030600000101010101" pitchFamily="18" charset="-127"/>
                  <a:ea typeface="HY견고딕" panose="02030600000101010101" pitchFamily="18" charset="-127"/>
                  <a:cs typeface="Arial" charset="0"/>
                </a:rPr>
                <a:t>공</a:t>
              </a:r>
              <a:r>
                <a:rPr lang="ko-KR" altLang="en-US" sz="1400" noProof="1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HY견고딕" panose="02030600000101010101" pitchFamily="18" charset="-127"/>
                  <a:ea typeface="HY견고딕" panose="02030600000101010101" pitchFamily="18" charset="-127"/>
                  <a:cs typeface="Arial" charset="0"/>
                </a:rPr>
                <a:t>단</a:t>
              </a:r>
              <a:endParaRPr lang="en-US" sz="1400" noProof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  <a:cs typeface="Arial" charset="0"/>
              </a:endParaRPr>
            </a:p>
          </p:txBody>
        </p:sp>
        <p:sp>
          <p:nvSpPr>
            <p:cNvPr id="87" name="Rektangel 76"/>
            <p:cNvSpPr>
              <a:spLocks noChangeArrowheads="1"/>
            </p:cNvSpPr>
            <p:nvPr/>
          </p:nvSpPr>
          <p:spPr bwMode="auto">
            <a:xfrm>
              <a:off x="5623238" y="3264384"/>
              <a:ext cx="941553" cy="4143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ko-KR" altLang="en-US" sz="1400" noProof="1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HY견고딕" panose="02030600000101010101" pitchFamily="18" charset="-127"/>
                  <a:ea typeface="HY견고딕" panose="02030600000101010101" pitchFamily="18" charset="-127"/>
                  <a:cs typeface="Arial" charset="0"/>
                </a:rPr>
                <a:t>심평원</a:t>
              </a:r>
              <a:endParaRPr lang="en-US" sz="1400" noProof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  <a:cs typeface="Arial" charset="0"/>
              </a:endParaRPr>
            </a:p>
          </p:txBody>
        </p:sp>
        <p:cxnSp>
          <p:nvCxnSpPr>
            <p:cNvPr id="88" name="직선 화살표 연결선 87"/>
            <p:cNvCxnSpPr/>
            <p:nvPr/>
          </p:nvCxnSpPr>
          <p:spPr>
            <a:xfrm flipH="1" flipV="1">
              <a:off x="1368263" y="4163496"/>
              <a:ext cx="1" cy="711592"/>
            </a:xfrm>
            <a:prstGeom prst="straightConnector1">
              <a:avLst/>
            </a:prstGeom>
            <a:ln w="28575" cap="flat">
              <a:solidFill>
                <a:srgbClr val="C00000"/>
              </a:solidFill>
              <a:round/>
              <a:tailEnd type="arrow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직선 화살표 연결선 88"/>
            <p:cNvCxnSpPr/>
            <p:nvPr/>
          </p:nvCxnSpPr>
          <p:spPr>
            <a:xfrm>
              <a:off x="2051720" y="3500117"/>
              <a:ext cx="3335289" cy="0"/>
            </a:xfrm>
            <a:prstGeom prst="straightConnector1">
              <a:avLst/>
            </a:prstGeom>
            <a:ln w="28575" cap="flat">
              <a:solidFill>
                <a:srgbClr val="C00000"/>
              </a:solidFill>
              <a:round/>
              <a:tailEnd type="arrow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직선 화살표 연결선 89"/>
            <p:cNvCxnSpPr/>
            <p:nvPr/>
          </p:nvCxnSpPr>
          <p:spPr>
            <a:xfrm>
              <a:off x="3419872" y="5661248"/>
              <a:ext cx="4147005" cy="0"/>
            </a:xfrm>
            <a:prstGeom prst="straightConnector1">
              <a:avLst/>
            </a:prstGeom>
            <a:ln w="28575" cap="flat">
              <a:solidFill>
                <a:srgbClr val="C00000"/>
              </a:solidFill>
              <a:round/>
              <a:tailEnd type="none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직선 화살표 연결선 90"/>
            <p:cNvCxnSpPr/>
            <p:nvPr/>
          </p:nvCxnSpPr>
          <p:spPr>
            <a:xfrm flipH="1" flipV="1">
              <a:off x="7566652" y="3502855"/>
              <a:ext cx="1" cy="2158393"/>
            </a:xfrm>
            <a:prstGeom prst="straightConnector1">
              <a:avLst/>
            </a:prstGeom>
            <a:ln w="28575" cap="flat">
              <a:solidFill>
                <a:srgbClr val="C00000"/>
              </a:solidFill>
              <a:round/>
              <a:tailEnd type="none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직선 화살표 연결선 91"/>
            <p:cNvCxnSpPr/>
            <p:nvPr/>
          </p:nvCxnSpPr>
          <p:spPr>
            <a:xfrm flipH="1">
              <a:off x="6768968" y="3502855"/>
              <a:ext cx="797909" cy="0"/>
            </a:xfrm>
            <a:prstGeom prst="straightConnector1">
              <a:avLst/>
            </a:prstGeom>
            <a:ln w="28575" cap="flat">
              <a:solidFill>
                <a:srgbClr val="C00000"/>
              </a:solidFill>
              <a:round/>
              <a:tailEnd type="arrow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직선 화살표 연결선 92"/>
            <p:cNvCxnSpPr/>
            <p:nvPr/>
          </p:nvCxnSpPr>
          <p:spPr>
            <a:xfrm flipV="1">
              <a:off x="6094014" y="4128506"/>
              <a:ext cx="0" cy="121703"/>
            </a:xfrm>
            <a:prstGeom prst="straightConnector1">
              <a:avLst/>
            </a:prstGeom>
            <a:ln w="28575" cap="flat">
              <a:solidFill>
                <a:srgbClr val="C00000"/>
              </a:solidFill>
              <a:round/>
              <a:tailEnd type="none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직선 화살표 연결선 93"/>
            <p:cNvCxnSpPr/>
            <p:nvPr/>
          </p:nvCxnSpPr>
          <p:spPr>
            <a:xfrm>
              <a:off x="5069833" y="4260216"/>
              <a:ext cx="2048362" cy="0"/>
            </a:xfrm>
            <a:prstGeom prst="straightConnector1">
              <a:avLst/>
            </a:prstGeom>
            <a:ln w="28575" cap="flat">
              <a:solidFill>
                <a:srgbClr val="C00000"/>
              </a:solidFill>
              <a:round/>
              <a:tailEnd type="none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직선 화살표 연결선 94"/>
            <p:cNvCxnSpPr/>
            <p:nvPr/>
          </p:nvCxnSpPr>
          <p:spPr>
            <a:xfrm flipV="1">
              <a:off x="5083398" y="4250210"/>
              <a:ext cx="0" cy="199794"/>
            </a:xfrm>
            <a:prstGeom prst="straightConnector1">
              <a:avLst/>
            </a:prstGeom>
            <a:ln w="28575" cap="flat">
              <a:solidFill>
                <a:srgbClr val="C00000"/>
              </a:solidFill>
              <a:round/>
              <a:headEnd type="arrow"/>
              <a:tailEnd type="none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직선 화살표 연결선 95"/>
            <p:cNvCxnSpPr/>
            <p:nvPr/>
          </p:nvCxnSpPr>
          <p:spPr>
            <a:xfrm flipV="1">
              <a:off x="7118195" y="4260218"/>
              <a:ext cx="0" cy="189788"/>
            </a:xfrm>
            <a:prstGeom prst="straightConnector1">
              <a:avLst/>
            </a:prstGeom>
            <a:ln w="28575" cap="flat">
              <a:solidFill>
                <a:srgbClr val="C00000"/>
              </a:solidFill>
              <a:round/>
              <a:headEnd type="arrow"/>
              <a:tailEnd type="none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직선 화살표 연결선 96"/>
            <p:cNvCxnSpPr/>
            <p:nvPr/>
          </p:nvCxnSpPr>
          <p:spPr>
            <a:xfrm flipH="1">
              <a:off x="1941214" y="4582051"/>
              <a:ext cx="2774802" cy="514284"/>
            </a:xfrm>
            <a:prstGeom prst="straightConnector1">
              <a:avLst/>
            </a:prstGeom>
            <a:ln w="25400">
              <a:solidFill>
                <a:srgbClr val="C00000"/>
              </a:solidFill>
              <a:prstDash val="sysDash"/>
              <a:tailEnd type="arrow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8" name="TextBox 97"/>
            <p:cNvSpPr txBox="1"/>
            <p:nvPr/>
          </p:nvSpPr>
          <p:spPr>
            <a:xfrm>
              <a:off x="2144209" y="5197527"/>
              <a:ext cx="1131648" cy="2693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700" dirty="0" err="1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HY견고딕" panose="02030600000101010101" pitchFamily="18" charset="-127"/>
                  <a:ea typeface="HY견고딕" panose="02030600000101010101" pitchFamily="18" charset="-127"/>
                </a:rPr>
                <a:t>심사전</a:t>
              </a:r>
              <a:r>
                <a:rPr lang="ko-KR" altLang="en-US" sz="700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HY견고딕" panose="02030600000101010101" pitchFamily="18" charset="-127"/>
                  <a:ea typeface="HY견고딕" panose="02030600000101010101" pitchFamily="18" charset="-127"/>
                </a:rPr>
                <a:t> 자격 확인</a:t>
              </a:r>
              <a:endParaRPr lang="ko-KR" altLang="en-US" sz="7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99" name="TextBox 98"/>
            <p:cNvSpPr txBox="1"/>
            <p:nvPr/>
          </p:nvSpPr>
          <p:spPr>
            <a:xfrm>
              <a:off x="4808128" y="4443551"/>
              <a:ext cx="1334033" cy="2693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700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HY견고딕" panose="02030600000101010101" pitchFamily="18" charset="-127"/>
                  <a:ea typeface="HY견고딕" panose="02030600000101010101" pitchFamily="18" charset="-127"/>
                </a:rPr>
                <a:t>자격 사전점검시스템</a:t>
              </a:r>
              <a:endParaRPr lang="ko-KR" altLang="en-US" sz="7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100" name="TextBox 99"/>
            <p:cNvSpPr txBox="1"/>
            <p:nvPr/>
          </p:nvSpPr>
          <p:spPr>
            <a:xfrm>
              <a:off x="6054201" y="4422989"/>
              <a:ext cx="1334033" cy="2693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700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HY견고딕" panose="02030600000101010101" pitchFamily="18" charset="-127"/>
                  <a:ea typeface="HY견고딕" panose="02030600000101010101" pitchFamily="18" charset="-127"/>
                </a:rPr>
                <a:t>진료비 심사</a:t>
              </a:r>
              <a:endParaRPr lang="ko-KR" altLang="en-US" sz="7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101" name="TextBox 100"/>
            <p:cNvSpPr txBox="1"/>
            <p:nvPr/>
          </p:nvSpPr>
          <p:spPr>
            <a:xfrm>
              <a:off x="4716016" y="5759039"/>
              <a:ext cx="2160240" cy="3107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900" dirty="0" smtClean="0">
                  <a:solidFill>
                    <a:srgbClr val="C00000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자격 확인 결과 통보</a:t>
              </a:r>
              <a:endParaRPr lang="ko-KR" altLang="en-US" sz="9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102" name="TextBox 101"/>
            <p:cNvSpPr txBox="1"/>
            <p:nvPr/>
          </p:nvSpPr>
          <p:spPr>
            <a:xfrm>
              <a:off x="2051720" y="4443551"/>
              <a:ext cx="2160240" cy="3107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900" dirty="0" smtClean="0">
                  <a:solidFill>
                    <a:srgbClr val="C00000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점검 결과 제공</a:t>
              </a:r>
              <a:r>
                <a:rPr lang="en-US" altLang="ko-KR" sz="900" dirty="0" smtClean="0">
                  <a:solidFill>
                    <a:srgbClr val="C00000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(1</a:t>
              </a:r>
              <a:r>
                <a:rPr lang="ko-KR" altLang="en-US" sz="900" dirty="0" smtClean="0">
                  <a:solidFill>
                    <a:srgbClr val="C00000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일</a:t>
              </a:r>
              <a:r>
                <a:rPr lang="en-US" altLang="ko-KR" sz="900" dirty="0" smtClean="0">
                  <a:solidFill>
                    <a:srgbClr val="C00000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)</a:t>
              </a:r>
              <a:endParaRPr lang="ko-KR" altLang="en-US" sz="9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103" name="TextBox 102"/>
            <p:cNvSpPr txBox="1"/>
            <p:nvPr/>
          </p:nvSpPr>
          <p:spPr>
            <a:xfrm>
              <a:off x="2548195" y="3145583"/>
              <a:ext cx="2160240" cy="3107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900" dirty="0" smtClean="0">
                  <a:solidFill>
                    <a:srgbClr val="C00000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진료비 청구</a:t>
              </a:r>
              <a:endParaRPr lang="ko-KR" altLang="en-US" sz="9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104" name="TextBox 103"/>
            <p:cNvSpPr txBox="1"/>
            <p:nvPr/>
          </p:nvSpPr>
          <p:spPr>
            <a:xfrm>
              <a:off x="744090" y="4048312"/>
              <a:ext cx="404155" cy="928498"/>
            </a:xfrm>
            <a:prstGeom prst="rect">
              <a:avLst/>
            </a:prstGeom>
            <a:noFill/>
          </p:spPr>
          <p:txBody>
            <a:bodyPr vert="eaVert" wrap="square" rtlCol="0">
              <a:spAutoFit/>
            </a:bodyPr>
            <a:lstStyle/>
            <a:p>
              <a:pPr algn="ctr"/>
              <a:r>
                <a:rPr lang="ko-KR" altLang="en-US" sz="900" dirty="0" smtClean="0">
                  <a:solidFill>
                    <a:srgbClr val="C00000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진료비지급</a:t>
              </a:r>
              <a:endParaRPr lang="ko-KR" altLang="en-US" sz="9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105" name="TextBox 104"/>
            <p:cNvSpPr txBox="1"/>
            <p:nvPr/>
          </p:nvSpPr>
          <p:spPr>
            <a:xfrm>
              <a:off x="6257634" y="3965819"/>
              <a:ext cx="1237243" cy="3107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900" smtClean="0">
                  <a:solidFill>
                    <a:srgbClr val="C00000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명세서 접수</a:t>
              </a:r>
              <a:endParaRPr lang="ko-KR" altLang="en-US" sz="9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</p:grpSp>
      <p:pic>
        <p:nvPicPr>
          <p:cNvPr id="7" name="그림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5737" y="3371073"/>
            <a:ext cx="2396977" cy="1682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37293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627259" y="528143"/>
            <a:ext cx="7994132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원주시 </a:t>
            </a:r>
            <a:r>
              <a:rPr lang="ko-KR" altLang="en-US" sz="24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新랜드마크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– </a:t>
            </a:r>
            <a:r>
              <a:rPr lang="ko-KR" altLang="en-US" sz="24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兩기관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이전 관련」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점검</a:t>
            </a:r>
            <a:endParaRPr lang="en-US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56351" y="1115883"/>
            <a:ext cx="8470324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내년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2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월 준공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이전 목표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총 공사비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3,364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억 원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공단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1,756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억 원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심사평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1,608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억 원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·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①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공단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심사평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공히 건강보험 수익금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1,385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억 원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충당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41.2%)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→ 과대 건물 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·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②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종전부동산 매각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이전 후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1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년 內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→ 헐값 매각 가능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미매각시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이자비용도 문제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609801" y="5627053"/>
            <a:ext cx="8450445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지역사회 기여</a:t>
            </a:r>
            <a:r>
              <a:rPr lang="en-US" altLang="ko-KR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불편한 대중교통 해소 등 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22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지역친화형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자리매김 공동대책」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수립</a:t>
            </a:r>
            <a:r>
              <a:rPr lang="en-US" altLang="ko-KR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업무의 효율성</a:t>
            </a:r>
            <a:r>
              <a:rPr lang="en-US" altLang="ko-KR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체계성 강화 방안 함께 추진</a:t>
            </a:r>
            <a:endParaRPr lang="ko-KR" altLang="en-US" sz="22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4" name="오른쪽 화살표 23"/>
          <p:cNvSpPr/>
          <p:nvPr/>
        </p:nvSpPr>
        <p:spPr>
          <a:xfrm>
            <a:off x="5004048" y="129773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오른쪽 화살표 25"/>
          <p:cNvSpPr/>
          <p:nvPr/>
        </p:nvSpPr>
        <p:spPr>
          <a:xfrm>
            <a:off x="232521" y="5800862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7" name="그림 2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3104" y="116632"/>
            <a:ext cx="267142" cy="257486"/>
          </a:xfrm>
          <a:prstGeom prst="rect">
            <a:avLst/>
          </a:prstGeom>
        </p:spPr>
      </p:pic>
      <p:pic>
        <p:nvPicPr>
          <p:cNvPr id="28" name="그림 2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9078" y="116632"/>
            <a:ext cx="260002" cy="257486"/>
          </a:xfrm>
          <a:prstGeom prst="rect">
            <a:avLst/>
          </a:prstGeom>
        </p:spPr>
      </p:pic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9881740"/>
              </p:ext>
            </p:extLst>
          </p:nvPr>
        </p:nvGraphicFramePr>
        <p:xfrm>
          <a:off x="609801" y="2420888"/>
          <a:ext cx="8007713" cy="1368152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3B4B98B0-60AC-42C2-AFA5-B58CD77FA1E5}</a:tableStyleId>
              </a:tblPr>
              <a:tblGrid>
                <a:gridCol w="902638"/>
                <a:gridCol w="728485"/>
                <a:gridCol w="676748"/>
                <a:gridCol w="657962"/>
                <a:gridCol w="657962"/>
                <a:gridCol w="851588"/>
                <a:gridCol w="816563"/>
                <a:gridCol w="963153"/>
                <a:gridCol w="876307"/>
                <a:gridCol w="876307"/>
              </a:tblGrid>
              <a:tr h="260500">
                <a:tc row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b="0" kern="0" spc="0" dirty="0" err="1" smtClean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기관명</a:t>
                      </a:r>
                      <a:endParaRPr lang="ko-KR" altLang="en-US" sz="1300" b="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 dirty="0">
                          <a:effectLst/>
                        </a:rPr>
                        <a:t>이전</a:t>
                      </a:r>
                      <a:endParaRPr lang="ko-KR" altLang="en-US" sz="1300" kern="0" spc="0" dirty="0">
                        <a:effectLst/>
                      </a:endParaRP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 dirty="0">
                          <a:effectLst/>
                        </a:rPr>
                        <a:t>인원</a:t>
                      </a:r>
                      <a:endParaRPr lang="ko-KR" altLang="en-US" sz="1300" b="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 dirty="0">
                          <a:effectLst/>
                        </a:rPr>
                        <a:t>부지면적</a:t>
                      </a:r>
                      <a:r>
                        <a:rPr lang="en-US" altLang="ko-KR" sz="1100" kern="0" spc="0" dirty="0">
                          <a:effectLst/>
                        </a:rPr>
                        <a:t>(</a:t>
                      </a:r>
                      <a:r>
                        <a:rPr lang="ko-KR" altLang="en-US" sz="1100" kern="0" spc="0" dirty="0">
                          <a:effectLst/>
                        </a:rPr>
                        <a:t>㎡</a:t>
                      </a:r>
                      <a:r>
                        <a:rPr lang="en-US" altLang="ko-KR" sz="1100" kern="0" spc="0" dirty="0">
                          <a:effectLst/>
                        </a:rPr>
                        <a:t>)</a:t>
                      </a:r>
                      <a:endParaRPr lang="ko-KR" altLang="en-US" sz="1300" b="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 dirty="0">
                          <a:effectLst/>
                        </a:rPr>
                        <a:t>연면적</a:t>
                      </a:r>
                      <a:r>
                        <a:rPr lang="en-US" altLang="ko-KR" sz="1100" kern="0" spc="0" dirty="0">
                          <a:effectLst/>
                        </a:rPr>
                        <a:t>(</a:t>
                      </a:r>
                      <a:r>
                        <a:rPr lang="ko-KR" altLang="en-US" sz="1100" kern="0" spc="0" dirty="0">
                          <a:effectLst/>
                        </a:rPr>
                        <a:t>㎡</a:t>
                      </a:r>
                      <a:r>
                        <a:rPr lang="en-US" altLang="ko-KR" sz="1100" kern="0" spc="0" dirty="0">
                          <a:effectLst/>
                        </a:rPr>
                        <a:t>)</a:t>
                      </a:r>
                      <a:endParaRPr lang="ko-KR" altLang="en-US" sz="1300" b="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 dirty="0">
                          <a:effectLst/>
                        </a:rPr>
                        <a:t>건축비</a:t>
                      </a:r>
                      <a:endParaRPr lang="ko-KR" altLang="en-US" sz="1300" kern="0" spc="0" dirty="0">
                        <a:effectLst/>
                      </a:endParaRP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0" dirty="0">
                          <a:effectLst/>
                        </a:rPr>
                        <a:t>(</a:t>
                      </a:r>
                      <a:r>
                        <a:rPr lang="ko-KR" altLang="en-US" sz="1100" kern="0" spc="0" dirty="0">
                          <a:effectLst/>
                        </a:rPr>
                        <a:t>부지매입비 포함</a:t>
                      </a:r>
                      <a:r>
                        <a:rPr lang="en-US" altLang="ko-KR" sz="1100" kern="0" spc="0" dirty="0">
                          <a:effectLst/>
                        </a:rPr>
                        <a:t>)</a:t>
                      </a:r>
                      <a:endParaRPr lang="ko-KR" altLang="en-US" sz="1300" b="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 dirty="0">
                          <a:effectLst/>
                        </a:rPr>
                        <a:t>재원 조달방안 </a:t>
                      </a:r>
                      <a:r>
                        <a:rPr lang="en-US" altLang="ko-KR" sz="1200" kern="0" spc="0" dirty="0">
                          <a:effectLst/>
                        </a:rPr>
                        <a:t>(</a:t>
                      </a:r>
                      <a:r>
                        <a:rPr lang="ko-KR" altLang="en-US" sz="1200" kern="0" spc="0" dirty="0">
                          <a:effectLst/>
                        </a:rPr>
                        <a:t>단위</a:t>
                      </a:r>
                      <a:r>
                        <a:rPr lang="en-US" altLang="ko-KR" sz="1200" kern="0" spc="0" dirty="0">
                          <a:effectLst/>
                        </a:rPr>
                        <a:t>, </a:t>
                      </a:r>
                      <a:r>
                        <a:rPr lang="ko-KR" altLang="en-US" sz="1200" kern="0" spc="0" dirty="0">
                          <a:effectLst/>
                        </a:rPr>
                        <a:t>억</a:t>
                      </a:r>
                      <a:r>
                        <a:rPr lang="en-US" altLang="ko-KR" sz="1200" kern="0" spc="0" dirty="0">
                          <a:effectLst/>
                        </a:rPr>
                        <a:t>)</a:t>
                      </a:r>
                      <a:endParaRPr lang="ko-KR" altLang="en-US" sz="1300" b="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154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 dirty="0">
                          <a:effectLst/>
                        </a:rPr>
                        <a:t>전체</a:t>
                      </a:r>
                      <a:endParaRPr lang="ko-KR" altLang="en-US" sz="1300" b="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kern="0" spc="0" dirty="0">
                          <a:effectLst/>
                        </a:rPr>
                        <a:t>1</a:t>
                      </a:r>
                      <a:r>
                        <a:rPr lang="ko-KR" altLang="en-US" sz="1200" kern="0" spc="0" dirty="0">
                          <a:effectLst/>
                        </a:rPr>
                        <a:t>인당</a:t>
                      </a:r>
                      <a:endParaRPr lang="ko-KR" altLang="en-US" sz="1300" b="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 dirty="0">
                          <a:effectLst/>
                        </a:rPr>
                        <a:t>전체</a:t>
                      </a:r>
                      <a:endParaRPr lang="ko-KR" altLang="en-US" sz="1300" b="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kern="0" spc="0" dirty="0">
                          <a:effectLst/>
                        </a:rPr>
                        <a:t>1</a:t>
                      </a:r>
                      <a:r>
                        <a:rPr lang="ko-KR" altLang="en-US" sz="1200" kern="0" spc="0" dirty="0">
                          <a:effectLst/>
                        </a:rPr>
                        <a:t>인당</a:t>
                      </a:r>
                      <a:endParaRPr lang="ko-KR" altLang="en-US" sz="1300" b="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 dirty="0">
                          <a:effectLst/>
                        </a:rPr>
                        <a:t>종전부동산 매각</a:t>
                      </a:r>
                      <a:endParaRPr lang="ko-KR" altLang="en-US" sz="1300" b="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 dirty="0" err="1">
                          <a:effectLst/>
                        </a:rPr>
                        <a:t>임차금</a:t>
                      </a:r>
                      <a:r>
                        <a:rPr lang="ko-KR" altLang="en-US" sz="1200" kern="0" spc="0" dirty="0">
                          <a:effectLst/>
                        </a:rPr>
                        <a:t> 회수</a:t>
                      </a:r>
                      <a:endParaRPr lang="ko-KR" altLang="en-US" sz="1300" b="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 dirty="0">
                          <a:effectLst/>
                        </a:rPr>
                        <a:t>건강보험</a:t>
                      </a:r>
                      <a:endParaRPr lang="ko-KR" altLang="en-US" sz="1300" kern="0" spc="0" dirty="0">
                        <a:effectLst/>
                      </a:endParaRP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 dirty="0">
                          <a:effectLst/>
                        </a:rPr>
                        <a:t>재정</a:t>
                      </a:r>
                      <a:endParaRPr lang="ko-KR" altLang="en-US" sz="1300" b="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346038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b="1" kern="0" spc="0" dirty="0" err="1">
                          <a:effectLst/>
                        </a:rPr>
                        <a:t>건보공단</a:t>
                      </a:r>
                      <a:endParaRPr lang="ko-KR" altLang="en-US" sz="13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kern="0" spc="0">
                          <a:effectLst/>
                        </a:rPr>
                        <a:t>1,192</a:t>
                      </a:r>
                      <a:r>
                        <a:rPr lang="ko-KR" altLang="en-US" sz="1200" kern="0" spc="0">
                          <a:effectLst/>
                        </a:rPr>
                        <a:t>명</a:t>
                      </a:r>
                      <a:endParaRPr lang="ko-KR" altLang="en-US" sz="1300" b="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</a:rPr>
                        <a:t>30,539</a:t>
                      </a:r>
                      <a:endParaRPr lang="en-US" sz="1300" b="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</a:rPr>
                        <a:t>25.62</a:t>
                      </a:r>
                      <a:endParaRPr lang="en-US" sz="1300" b="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</a:rPr>
                        <a:t>67,512</a:t>
                      </a:r>
                      <a:endParaRPr lang="en-US" sz="1300" b="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</a:rPr>
                        <a:t>56.63</a:t>
                      </a:r>
                      <a:endParaRPr lang="en-US" sz="1300" b="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>
                          <a:effectLst/>
                        </a:rPr>
                        <a:t>1,756</a:t>
                      </a:r>
                      <a:endParaRPr lang="en-US" sz="1300" b="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>
                          <a:effectLst/>
                        </a:rPr>
                        <a:t>1,165</a:t>
                      </a:r>
                      <a:endParaRPr lang="en-US" sz="1300" b="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</a:rPr>
                        <a:t>45</a:t>
                      </a:r>
                      <a:endParaRPr lang="en-US" sz="1300" b="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>
                          <a:effectLst/>
                        </a:rPr>
                        <a:t>545</a:t>
                      </a:r>
                      <a:endParaRPr lang="en-US" sz="1300" b="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0040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b="1" kern="0" spc="0" dirty="0">
                          <a:effectLst/>
                        </a:rPr>
                        <a:t>심평원</a:t>
                      </a:r>
                      <a:endParaRPr lang="ko-KR" altLang="en-US" sz="13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kern="0" spc="0">
                          <a:effectLst/>
                        </a:rPr>
                        <a:t>1,088</a:t>
                      </a:r>
                      <a:r>
                        <a:rPr lang="ko-KR" altLang="en-US" sz="1200" kern="0" spc="0">
                          <a:effectLst/>
                        </a:rPr>
                        <a:t>명</a:t>
                      </a:r>
                      <a:endParaRPr lang="ko-KR" altLang="en-US" sz="1300" b="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</a:rPr>
                        <a:t>23,140</a:t>
                      </a:r>
                      <a:endParaRPr lang="en-US" sz="1300" b="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>
                          <a:effectLst/>
                        </a:rPr>
                        <a:t>21.30</a:t>
                      </a:r>
                      <a:endParaRPr lang="en-US" sz="1300" b="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>
                          <a:effectLst/>
                        </a:rPr>
                        <a:t>61,469</a:t>
                      </a:r>
                      <a:endParaRPr lang="en-US" sz="1300" b="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>
                          <a:effectLst/>
                        </a:rPr>
                        <a:t>56.50</a:t>
                      </a:r>
                      <a:endParaRPr lang="en-US" sz="1300" b="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>
                          <a:effectLst/>
                        </a:rPr>
                        <a:t>1,608</a:t>
                      </a:r>
                      <a:endParaRPr lang="en-US" sz="1300" b="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</a:rPr>
                        <a:t>721</a:t>
                      </a:r>
                      <a:endParaRPr lang="en-US" sz="1300" b="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</a:rPr>
                        <a:t>46</a:t>
                      </a:r>
                      <a:endParaRPr lang="en-US" sz="1300" b="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>
                          <a:effectLst/>
                        </a:rPr>
                        <a:t>840</a:t>
                      </a:r>
                      <a:endParaRPr lang="en-US" sz="1300" b="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2049" name="_x275448216" descr="EMB0000057452a7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3728" y="4014725"/>
            <a:ext cx="2338711" cy="157797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2051" name="_x275449496" descr="EMB0000057452a8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9510" y="4014725"/>
            <a:ext cx="2668783" cy="157797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5" name="그룹 24"/>
          <p:cNvGrpSpPr/>
          <p:nvPr/>
        </p:nvGrpSpPr>
        <p:grpSpPr>
          <a:xfrm>
            <a:off x="-8274" y="-81403"/>
            <a:ext cx="1120288" cy="1236229"/>
            <a:chOff x="-8274" y="-81403"/>
            <a:chExt cx="1120288" cy="1236229"/>
          </a:xfrm>
        </p:grpSpPr>
        <p:grpSp>
          <p:nvGrpSpPr>
            <p:cNvPr id="31" name="Group 50"/>
            <p:cNvGrpSpPr/>
            <p:nvPr/>
          </p:nvGrpSpPr>
          <p:grpSpPr>
            <a:xfrm>
              <a:off x="-1122" y="-81403"/>
              <a:ext cx="1113136" cy="1236229"/>
              <a:chOff x="-9097" y="-96310"/>
              <a:chExt cx="974935" cy="1025474"/>
            </a:xfrm>
          </p:grpSpPr>
          <p:sp>
            <p:nvSpPr>
              <p:cNvPr id="33" name="Diagonal Stripe 51"/>
              <p:cNvSpPr/>
              <p:nvPr/>
            </p:nvSpPr>
            <p:spPr>
              <a:xfrm>
                <a:off x="-7091" y="-23336"/>
                <a:ext cx="972929" cy="952500"/>
              </a:xfrm>
              <a:prstGeom prst="diagStripe">
                <a:avLst>
                  <a:gd name="adj" fmla="val 61073"/>
                </a:avLst>
              </a:pr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3400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12700" dir="5400000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4" name="TextBox 33"/>
              <p:cNvSpPr txBox="1"/>
              <p:nvPr/>
            </p:nvSpPr>
            <p:spPr>
              <a:xfrm rot="18886281">
                <a:off x="58852" y="187690"/>
                <a:ext cx="770174" cy="2021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7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국회의원</a:t>
                </a:r>
                <a:r>
                  <a:rPr lang="ko-KR" altLang="en-US" sz="9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 이명수</a:t>
                </a:r>
                <a:endParaRPr lang="en-US" sz="900" dirty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endParaRPr>
              </a:p>
            </p:txBody>
          </p:sp>
          <p:cxnSp>
            <p:nvCxnSpPr>
              <p:cNvPr id="35" name="Straight Connector 53"/>
              <p:cNvCxnSpPr/>
              <p:nvPr/>
            </p:nvCxnSpPr>
            <p:spPr>
              <a:xfrm flipH="1">
                <a:off x="-9097" y="-22860"/>
                <a:ext cx="623270" cy="623272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54"/>
              <p:cNvCxnSpPr/>
              <p:nvPr/>
            </p:nvCxnSpPr>
            <p:spPr>
              <a:xfrm flipH="1">
                <a:off x="-7091" y="-22860"/>
                <a:ext cx="921493" cy="893213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2" name="그림 31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66808">
              <a:off x="-8274" y="724510"/>
              <a:ext cx="252257" cy="12087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22713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그림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5893" y="3852267"/>
            <a:ext cx="2910390" cy="2063731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684738" y="580697"/>
            <a:ext cx="7994132" cy="4124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공단</a:t>
            </a:r>
            <a:r>
              <a:rPr lang="en-US" altLang="ko-KR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심평원 </a:t>
            </a:r>
            <a:r>
              <a:rPr lang="en-US" altLang="ko-KR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- </a:t>
            </a:r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과도한 </a:t>
            </a:r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민간私보험 단체가</a:t>
            </a:r>
            <a:r>
              <a:rPr lang="ko-KR" altLang="en-US" sz="26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입</a:t>
            </a:r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논란</a:t>
            </a:r>
            <a:endParaRPr lang="en-US" sz="26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56351" y="1228620"/>
            <a:ext cx="8470324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복지차원에서 임직원 민간단체보험 가입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전국의사총연합회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감사원 공익감사 요청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전의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총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공단 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지난 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3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간 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1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조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8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천여 억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원 건강보험료 추가 징수 주장도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공단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민간보험에 암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급성심근경색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뇌졸중 등 중증질환 보장 특약 포함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올해만도 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32.8</a:t>
            </a:r>
            <a:r>
              <a:rPr lang="ko-KR" altLang="en-US" sz="1600" b="1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억원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심사평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지난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5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간 임직원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0,109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명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배우자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6,877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명 단체私보험 지원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퇴직자도 포함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양 기관 직원들의 의료보험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보장률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90%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웃돌아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일반국민 </a:t>
            </a:r>
            <a:r>
              <a:rPr lang="ko-KR" altLang="en-US" sz="1600" b="1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보장률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62.5% (12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 기준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추정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816118" y="6079776"/>
            <a:ext cx="8119279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국민보다 월등히 높은 </a:t>
            </a: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건강보험 혜택 </a:t>
            </a: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받는 현실 </a:t>
            </a:r>
            <a:r>
              <a:rPr lang="en-US" altLang="ko-KR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– </a:t>
            </a: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즉각 시정 돼야</a:t>
            </a:r>
            <a:endParaRPr lang="ko-KR" altLang="en-US" sz="21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3" name="오른쪽 화살표 22"/>
          <p:cNvSpPr/>
          <p:nvPr/>
        </p:nvSpPr>
        <p:spPr>
          <a:xfrm>
            <a:off x="2123728" y="179127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오른쪽 화살표 23"/>
          <p:cNvSpPr/>
          <p:nvPr/>
        </p:nvSpPr>
        <p:spPr>
          <a:xfrm>
            <a:off x="4727011" y="140046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오른쪽 화살표 25"/>
          <p:cNvSpPr/>
          <p:nvPr/>
        </p:nvSpPr>
        <p:spPr>
          <a:xfrm>
            <a:off x="390591" y="6217520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9" name="오른쪽 화살표 28"/>
          <p:cNvSpPr/>
          <p:nvPr/>
        </p:nvSpPr>
        <p:spPr>
          <a:xfrm>
            <a:off x="6732240" y="249289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0" name="오른쪽 화살표 29"/>
          <p:cNvSpPr/>
          <p:nvPr/>
        </p:nvSpPr>
        <p:spPr>
          <a:xfrm>
            <a:off x="7092280" y="213300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7" name="그림 2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3104" y="116632"/>
            <a:ext cx="267142" cy="257486"/>
          </a:xfrm>
          <a:prstGeom prst="rect">
            <a:avLst/>
          </a:prstGeom>
        </p:spPr>
      </p:pic>
      <p:pic>
        <p:nvPicPr>
          <p:cNvPr id="28" name="그림 2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9078" y="116632"/>
            <a:ext cx="260002" cy="257486"/>
          </a:xfrm>
          <a:prstGeom prst="rect">
            <a:avLst/>
          </a:prstGeom>
        </p:spPr>
      </p:pic>
      <p:sp>
        <p:nvSpPr>
          <p:cNvPr id="25" name="오른쪽 화살표 24"/>
          <p:cNvSpPr/>
          <p:nvPr/>
        </p:nvSpPr>
        <p:spPr>
          <a:xfrm>
            <a:off x="4919404" y="285293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31" name="그룹 30"/>
          <p:cNvGrpSpPr/>
          <p:nvPr/>
        </p:nvGrpSpPr>
        <p:grpSpPr>
          <a:xfrm>
            <a:off x="-8274" y="-81403"/>
            <a:ext cx="1120288" cy="1236229"/>
            <a:chOff x="-8274" y="-81403"/>
            <a:chExt cx="1120288" cy="1236229"/>
          </a:xfrm>
        </p:grpSpPr>
        <p:grpSp>
          <p:nvGrpSpPr>
            <p:cNvPr id="32" name="Group 50"/>
            <p:cNvGrpSpPr/>
            <p:nvPr/>
          </p:nvGrpSpPr>
          <p:grpSpPr>
            <a:xfrm>
              <a:off x="-1122" y="-81403"/>
              <a:ext cx="1113136" cy="1236229"/>
              <a:chOff x="-9097" y="-96310"/>
              <a:chExt cx="974935" cy="1025474"/>
            </a:xfrm>
          </p:grpSpPr>
          <p:sp>
            <p:nvSpPr>
              <p:cNvPr id="34" name="Diagonal Stripe 51"/>
              <p:cNvSpPr/>
              <p:nvPr/>
            </p:nvSpPr>
            <p:spPr>
              <a:xfrm>
                <a:off x="-7091" y="-23336"/>
                <a:ext cx="972929" cy="952500"/>
              </a:xfrm>
              <a:prstGeom prst="diagStripe">
                <a:avLst>
                  <a:gd name="adj" fmla="val 61073"/>
                </a:avLst>
              </a:pr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3400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12700" dir="5400000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5" name="TextBox 34"/>
              <p:cNvSpPr txBox="1"/>
              <p:nvPr/>
            </p:nvSpPr>
            <p:spPr>
              <a:xfrm rot="18886281">
                <a:off x="58852" y="187690"/>
                <a:ext cx="770174" cy="2021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7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국회의원</a:t>
                </a:r>
                <a:r>
                  <a:rPr lang="ko-KR" altLang="en-US" sz="9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 이명수</a:t>
                </a:r>
                <a:endParaRPr lang="en-US" sz="900" dirty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endParaRPr>
              </a:p>
            </p:txBody>
          </p:sp>
          <p:cxnSp>
            <p:nvCxnSpPr>
              <p:cNvPr id="36" name="Straight Connector 53"/>
              <p:cNvCxnSpPr/>
              <p:nvPr/>
            </p:nvCxnSpPr>
            <p:spPr>
              <a:xfrm flipH="1">
                <a:off x="-9097" y="-22860"/>
                <a:ext cx="623270" cy="623272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54"/>
              <p:cNvCxnSpPr/>
              <p:nvPr/>
            </p:nvCxnSpPr>
            <p:spPr>
              <a:xfrm flipH="1">
                <a:off x="-7091" y="-22860"/>
                <a:ext cx="921493" cy="893213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3" name="그림 32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66808">
              <a:off x="-8274" y="724510"/>
              <a:ext cx="252257" cy="120873"/>
            </a:xfrm>
            <a:prstGeom prst="rect">
              <a:avLst/>
            </a:prstGeom>
          </p:spPr>
        </p:pic>
      </p:grpSp>
      <p:pic>
        <p:nvPicPr>
          <p:cNvPr id="6" name="그림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741" y="2746815"/>
            <a:ext cx="2717825" cy="3297456"/>
          </a:xfrm>
          <a:prstGeom prst="rect">
            <a:avLst/>
          </a:prstGeom>
        </p:spPr>
      </p:pic>
      <p:pic>
        <p:nvPicPr>
          <p:cNvPr id="40" name="그림 3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936404">
            <a:off x="4139955" y="4897444"/>
            <a:ext cx="267142" cy="257486"/>
          </a:xfrm>
          <a:prstGeom prst="rect">
            <a:avLst/>
          </a:prstGeom>
        </p:spPr>
      </p:pic>
      <p:pic>
        <p:nvPicPr>
          <p:cNvPr id="41" name="그림 4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894570">
            <a:off x="2169338" y="4930493"/>
            <a:ext cx="260002" cy="257486"/>
          </a:xfrm>
          <a:prstGeom prst="rect">
            <a:avLst/>
          </a:prstGeom>
        </p:spPr>
      </p:pic>
      <p:pic>
        <p:nvPicPr>
          <p:cNvPr id="43" name="그림 4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3646" y="2725314"/>
            <a:ext cx="2717825" cy="3297456"/>
          </a:xfrm>
          <a:prstGeom prst="rect">
            <a:avLst/>
          </a:prstGeom>
        </p:spPr>
      </p:pic>
      <p:grpSp>
        <p:nvGrpSpPr>
          <p:cNvPr id="8" name="그룹 7"/>
          <p:cNvGrpSpPr/>
          <p:nvPr/>
        </p:nvGrpSpPr>
        <p:grpSpPr>
          <a:xfrm>
            <a:off x="6010812" y="3431856"/>
            <a:ext cx="2061104" cy="2445086"/>
            <a:chOff x="7052632" y="3000760"/>
            <a:chExt cx="2061104" cy="2445086"/>
          </a:xfrm>
        </p:grpSpPr>
        <p:sp>
          <p:nvSpPr>
            <p:cNvPr id="49" name="Freeform 8"/>
            <p:cNvSpPr>
              <a:spLocks/>
            </p:cNvSpPr>
            <p:nvPr/>
          </p:nvSpPr>
          <p:spPr bwMode="auto">
            <a:xfrm rot="3817884">
              <a:off x="8317605" y="4479486"/>
              <a:ext cx="562950" cy="1029313"/>
            </a:xfrm>
            <a:custGeom>
              <a:avLst/>
              <a:gdLst>
                <a:gd name="T0" fmla="*/ 794 w 932"/>
                <a:gd name="T1" fmla="*/ 0 h 1362"/>
                <a:gd name="T2" fmla="*/ 932 w 932"/>
                <a:gd name="T3" fmla="*/ 0 h 1362"/>
                <a:gd name="T4" fmla="*/ 142 w 932"/>
                <a:gd name="T5" fmla="*/ 1356 h 1362"/>
                <a:gd name="T6" fmla="*/ 0 w 932"/>
                <a:gd name="T7" fmla="*/ 1362 h 1362"/>
                <a:gd name="T8" fmla="*/ 794 w 932"/>
                <a:gd name="T9" fmla="*/ 0 h 1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2" h="1362">
                  <a:moveTo>
                    <a:pt x="794" y="0"/>
                  </a:moveTo>
                  <a:lnTo>
                    <a:pt x="932" y="0"/>
                  </a:lnTo>
                  <a:lnTo>
                    <a:pt x="142" y="1356"/>
                  </a:lnTo>
                  <a:lnTo>
                    <a:pt x="0" y="1362"/>
                  </a:lnTo>
                  <a:lnTo>
                    <a:pt x="794" y="0"/>
                  </a:lnTo>
                  <a:close/>
                </a:path>
              </a:pathLst>
            </a:custGeom>
            <a:solidFill>
              <a:srgbClr val="09497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grpSp>
          <p:nvGrpSpPr>
            <p:cNvPr id="7" name="그룹 6"/>
            <p:cNvGrpSpPr/>
            <p:nvPr/>
          </p:nvGrpSpPr>
          <p:grpSpPr>
            <a:xfrm>
              <a:off x="7052632" y="3000760"/>
              <a:ext cx="1643042" cy="2445086"/>
              <a:chOff x="5786210" y="3394391"/>
              <a:chExt cx="1643042" cy="2445086"/>
            </a:xfrm>
          </p:grpSpPr>
          <p:sp>
            <p:nvSpPr>
              <p:cNvPr id="46" name="Freeform 5"/>
              <p:cNvSpPr>
                <a:spLocks/>
              </p:cNvSpPr>
              <p:nvPr/>
            </p:nvSpPr>
            <p:spPr bwMode="auto">
              <a:xfrm rot="3817884">
                <a:off x="5406384" y="3816609"/>
                <a:ext cx="2445086" cy="1600650"/>
              </a:xfrm>
              <a:custGeom>
                <a:avLst/>
                <a:gdLst>
                  <a:gd name="T0" fmla="*/ 0 w 4048"/>
                  <a:gd name="T1" fmla="*/ 1522 h 2118"/>
                  <a:gd name="T2" fmla="*/ 244 w 4048"/>
                  <a:gd name="T3" fmla="*/ 930 h 2118"/>
                  <a:gd name="T4" fmla="*/ 522 w 4048"/>
                  <a:gd name="T5" fmla="*/ 1348 h 2118"/>
                  <a:gd name="T6" fmla="*/ 888 w 4048"/>
                  <a:gd name="T7" fmla="*/ 820 h 2118"/>
                  <a:gd name="T8" fmla="*/ 1388 w 4048"/>
                  <a:gd name="T9" fmla="*/ 1690 h 2118"/>
                  <a:gd name="T10" fmla="*/ 2884 w 4048"/>
                  <a:gd name="T11" fmla="*/ 622 h 2118"/>
                  <a:gd name="T12" fmla="*/ 2716 w 4048"/>
                  <a:gd name="T13" fmla="*/ 286 h 2118"/>
                  <a:gd name="T14" fmla="*/ 4048 w 4048"/>
                  <a:gd name="T15" fmla="*/ 0 h 2118"/>
                  <a:gd name="T16" fmla="*/ 3254 w 4048"/>
                  <a:gd name="T17" fmla="*/ 1362 h 2118"/>
                  <a:gd name="T18" fmla="*/ 3024 w 4048"/>
                  <a:gd name="T19" fmla="*/ 940 h 2118"/>
                  <a:gd name="T20" fmla="*/ 1430 w 4048"/>
                  <a:gd name="T21" fmla="*/ 2118 h 2118"/>
                  <a:gd name="T22" fmla="*/ 894 w 4048"/>
                  <a:gd name="T23" fmla="*/ 1198 h 2118"/>
                  <a:gd name="T24" fmla="*/ 568 w 4048"/>
                  <a:gd name="T25" fmla="*/ 1658 h 2118"/>
                  <a:gd name="T26" fmla="*/ 302 w 4048"/>
                  <a:gd name="T27" fmla="*/ 1342 h 2118"/>
                  <a:gd name="T28" fmla="*/ 192 w 4048"/>
                  <a:gd name="T29" fmla="*/ 1600 h 2118"/>
                  <a:gd name="T30" fmla="*/ 0 w 4048"/>
                  <a:gd name="T31" fmla="*/ 1522 h 2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048" h="2118">
                    <a:moveTo>
                      <a:pt x="0" y="1522"/>
                    </a:moveTo>
                    <a:lnTo>
                      <a:pt x="244" y="930"/>
                    </a:lnTo>
                    <a:lnTo>
                      <a:pt x="522" y="1348"/>
                    </a:lnTo>
                    <a:lnTo>
                      <a:pt x="888" y="820"/>
                    </a:lnTo>
                    <a:lnTo>
                      <a:pt x="1388" y="1690"/>
                    </a:lnTo>
                    <a:lnTo>
                      <a:pt x="2884" y="622"/>
                    </a:lnTo>
                    <a:lnTo>
                      <a:pt x="2716" y="286"/>
                    </a:lnTo>
                    <a:lnTo>
                      <a:pt x="4048" y="0"/>
                    </a:lnTo>
                    <a:lnTo>
                      <a:pt x="3254" y="1362"/>
                    </a:lnTo>
                    <a:lnTo>
                      <a:pt x="3024" y="940"/>
                    </a:lnTo>
                    <a:lnTo>
                      <a:pt x="1430" y="2118"/>
                    </a:lnTo>
                    <a:lnTo>
                      <a:pt x="894" y="1198"/>
                    </a:lnTo>
                    <a:lnTo>
                      <a:pt x="568" y="1658"/>
                    </a:lnTo>
                    <a:lnTo>
                      <a:pt x="302" y="1342"/>
                    </a:lnTo>
                    <a:lnTo>
                      <a:pt x="192" y="1600"/>
                    </a:lnTo>
                    <a:lnTo>
                      <a:pt x="0" y="1522"/>
                    </a:lnTo>
                    <a:close/>
                  </a:path>
                </a:pathLst>
              </a:custGeom>
              <a:ln>
                <a:headEnd/>
                <a:tailEnd/>
              </a:ln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57200"/>
                <a:endParaRPr lang="en-US" sz="1200">
                  <a:latin typeface="+mj-lt"/>
                </a:endParaRPr>
              </a:p>
            </p:txBody>
          </p:sp>
          <p:sp>
            <p:nvSpPr>
              <p:cNvPr id="47" name="Freeform 6"/>
              <p:cNvSpPr>
                <a:spLocks/>
              </p:cNvSpPr>
              <p:nvPr/>
            </p:nvSpPr>
            <p:spPr bwMode="auto">
              <a:xfrm rot="3817884">
                <a:off x="6043226" y="3609589"/>
                <a:ext cx="216240" cy="329501"/>
              </a:xfrm>
              <a:custGeom>
                <a:avLst/>
                <a:gdLst>
                  <a:gd name="T0" fmla="*/ 0 w 358"/>
                  <a:gd name="T1" fmla="*/ 18 h 436"/>
                  <a:gd name="T2" fmla="*/ 116 w 358"/>
                  <a:gd name="T3" fmla="*/ 0 h 436"/>
                  <a:gd name="T4" fmla="*/ 358 w 358"/>
                  <a:gd name="T5" fmla="*/ 318 h 436"/>
                  <a:gd name="T6" fmla="*/ 278 w 358"/>
                  <a:gd name="T7" fmla="*/ 436 h 436"/>
                  <a:gd name="T8" fmla="*/ 0 w 358"/>
                  <a:gd name="T9" fmla="*/ 18 h 4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8" h="436">
                    <a:moveTo>
                      <a:pt x="0" y="18"/>
                    </a:moveTo>
                    <a:lnTo>
                      <a:pt x="116" y="0"/>
                    </a:lnTo>
                    <a:lnTo>
                      <a:pt x="358" y="318"/>
                    </a:lnTo>
                    <a:lnTo>
                      <a:pt x="278" y="436"/>
                    </a:lnTo>
                    <a:lnTo>
                      <a:pt x="0" y="18"/>
                    </a:lnTo>
                    <a:close/>
                  </a:path>
                </a:pathLst>
              </a:custGeom>
              <a:solidFill>
                <a:srgbClr val="09497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48" name="Freeform 7"/>
              <p:cNvSpPr>
                <a:spLocks/>
              </p:cNvSpPr>
              <p:nvPr/>
            </p:nvSpPr>
            <p:spPr bwMode="auto">
              <a:xfrm rot="3817884">
                <a:off x="6095851" y="3893299"/>
                <a:ext cx="380535" cy="680163"/>
              </a:xfrm>
              <a:custGeom>
                <a:avLst/>
                <a:gdLst>
                  <a:gd name="T0" fmla="*/ 0 w 630"/>
                  <a:gd name="T1" fmla="*/ 30 h 900"/>
                  <a:gd name="T2" fmla="*/ 138 w 630"/>
                  <a:gd name="T3" fmla="*/ 0 h 900"/>
                  <a:gd name="T4" fmla="*/ 630 w 630"/>
                  <a:gd name="T5" fmla="*/ 806 h 900"/>
                  <a:gd name="T6" fmla="*/ 500 w 630"/>
                  <a:gd name="T7" fmla="*/ 900 h 900"/>
                  <a:gd name="T8" fmla="*/ 0 w 630"/>
                  <a:gd name="T9" fmla="*/ 30 h 9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0" h="900">
                    <a:moveTo>
                      <a:pt x="0" y="30"/>
                    </a:moveTo>
                    <a:lnTo>
                      <a:pt x="138" y="0"/>
                    </a:lnTo>
                    <a:lnTo>
                      <a:pt x="630" y="806"/>
                    </a:lnTo>
                    <a:lnTo>
                      <a:pt x="500" y="900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09497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50" name="Freeform 9"/>
              <p:cNvSpPr>
                <a:spLocks/>
              </p:cNvSpPr>
              <p:nvPr/>
            </p:nvSpPr>
            <p:spPr bwMode="auto">
              <a:xfrm rot="3817884">
                <a:off x="5875010" y="4453493"/>
                <a:ext cx="994222" cy="890258"/>
              </a:xfrm>
              <a:custGeom>
                <a:avLst/>
                <a:gdLst>
                  <a:gd name="T0" fmla="*/ 0 w 1646"/>
                  <a:gd name="T1" fmla="*/ 1178 h 1178"/>
                  <a:gd name="T2" fmla="*/ 116 w 1646"/>
                  <a:gd name="T3" fmla="*/ 1160 h 1178"/>
                  <a:gd name="T4" fmla="*/ 1646 w 1646"/>
                  <a:gd name="T5" fmla="*/ 96 h 1178"/>
                  <a:gd name="T6" fmla="*/ 1594 w 1646"/>
                  <a:gd name="T7" fmla="*/ 0 h 1178"/>
                  <a:gd name="T8" fmla="*/ 0 w 1646"/>
                  <a:gd name="T9" fmla="*/ 1178 h 1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46" h="1178">
                    <a:moveTo>
                      <a:pt x="0" y="1178"/>
                    </a:moveTo>
                    <a:lnTo>
                      <a:pt x="116" y="1160"/>
                    </a:lnTo>
                    <a:lnTo>
                      <a:pt x="1646" y="96"/>
                    </a:lnTo>
                    <a:lnTo>
                      <a:pt x="1594" y="0"/>
                    </a:lnTo>
                    <a:lnTo>
                      <a:pt x="0" y="1178"/>
                    </a:lnTo>
                    <a:close/>
                  </a:path>
                </a:pathLst>
              </a:custGeom>
              <a:solidFill>
                <a:srgbClr val="09497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51" name="Freeform 10"/>
              <p:cNvSpPr>
                <a:spLocks/>
              </p:cNvSpPr>
              <p:nvPr/>
            </p:nvSpPr>
            <p:spPr bwMode="auto">
              <a:xfrm rot="3817884">
                <a:off x="5924004" y="3882923"/>
                <a:ext cx="231945" cy="347639"/>
              </a:xfrm>
              <a:custGeom>
                <a:avLst/>
                <a:gdLst>
                  <a:gd name="T0" fmla="*/ 0 w 384"/>
                  <a:gd name="T1" fmla="*/ 460 h 460"/>
                  <a:gd name="T2" fmla="*/ 128 w 384"/>
                  <a:gd name="T3" fmla="*/ 452 h 460"/>
                  <a:gd name="T4" fmla="*/ 384 w 384"/>
                  <a:gd name="T5" fmla="*/ 100 h 460"/>
                  <a:gd name="T6" fmla="*/ 326 w 384"/>
                  <a:gd name="T7" fmla="*/ 0 h 460"/>
                  <a:gd name="T8" fmla="*/ 0 w 384"/>
                  <a:gd name="T9" fmla="*/ 460 h 4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4" h="460">
                    <a:moveTo>
                      <a:pt x="0" y="460"/>
                    </a:moveTo>
                    <a:lnTo>
                      <a:pt x="128" y="452"/>
                    </a:lnTo>
                    <a:lnTo>
                      <a:pt x="384" y="100"/>
                    </a:lnTo>
                    <a:lnTo>
                      <a:pt x="326" y="0"/>
                    </a:lnTo>
                    <a:lnTo>
                      <a:pt x="0" y="460"/>
                    </a:lnTo>
                    <a:close/>
                  </a:path>
                </a:pathLst>
              </a:custGeom>
              <a:solidFill>
                <a:srgbClr val="09497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52" name="Freeform 11"/>
              <p:cNvSpPr>
                <a:spLocks/>
              </p:cNvSpPr>
              <p:nvPr/>
            </p:nvSpPr>
            <p:spPr bwMode="auto">
              <a:xfrm rot="3817884">
                <a:off x="5826922" y="3717167"/>
                <a:ext cx="113556" cy="194980"/>
              </a:xfrm>
              <a:custGeom>
                <a:avLst/>
                <a:gdLst>
                  <a:gd name="T0" fmla="*/ 0 w 188"/>
                  <a:gd name="T1" fmla="*/ 258 h 258"/>
                  <a:gd name="T2" fmla="*/ 130 w 188"/>
                  <a:gd name="T3" fmla="*/ 230 h 258"/>
                  <a:gd name="T4" fmla="*/ 188 w 188"/>
                  <a:gd name="T5" fmla="*/ 92 h 258"/>
                  <a:gd name="T6" fmla="*/ 110 w 188"/>
                  <a:gd name="T7" fmla="*/ 0 h 258"/>
                  <a:gd name="T8" fmla="*/ 0 w 188"/>
                  <a:gd name="T9" fmla="*/ 258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8" h="258">
                    <a:moveTo>
                      <a:pt x="0" y="258"/>
                    </a:moveTo>
                    <a:lnTo>
                      <a:pt x="130" y="230"/>
                    </a:lnTo>
                    <a:lnTo>
                      <a:pt x="188" y="92"/>
                    </a:lnTo>
                    <a:lnTo>
                      <a:pt x="110" y="0"/>
                    </a:lnTo>
                    <a:lnTo>
                      <a:pt x="0" y="258"/>
                    </a:lnTo>
                    <a:close/>
                  </a:path>
                </a:pathLst>
              </a:custGeom>
              <a:solidFill>
                <a:srgbClr val="09497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32715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oD3omsBU.x.xuAdF1fN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10gjctN0ugbaIuYknRt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oD3omsBU.x.xuAdF1fN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10gjctN0ugbaIuYknR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oD3omsBU.x.xuAdF1fN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10gjctN0ugbaIuYknRt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oD3omsBU.x.xuAdF1fN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10gjctN0ugbaIuYknRt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yN6GcW5U6DgW4WMfHPg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BfV6Bu5kuf8ipCUTvpu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XkE2KQV02Jsd7hKvJVY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.aZJwkorUKoUko2E56VL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pQffNWUUeMVqiBTcaGq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4fR4_wuUKxiXZCWCJK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oD3omsBU.x.xuAdF1fN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10gjctN0ugbaIuYknR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oD3omsBU.x.xuAdF1fN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10gjctN0ugbaIuYknRt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oD3omsBU.x.xuAdF1fN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10gjctN0ugbaIuYknRtg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66</TotalTime>
  <Words>2187</Words>
  <Application>Microsoft Office PowerPoint</Application>
  <PresentationFormat>화면 슬라이드 쇼(4:3)</PresentationFormat>
  <Paragraphs>324</Paragraphs>
  <Slides>17</Slides>
  <Notes>16</Notes>
  <HiddenSlides>0</HiddenSlides>
  <MMClips>0</MMClips>
  <ScaleCrop>false</ScaleCrop>
  <HeadingPairs>
    <vt:vector size="6" baseType="variant"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7</vt:i4>
      </vt:variant>
    </vt:vector>
  </HeadingPairs>
  <TitlesOfParts>
    <vt:vector size="19" baseType="lpstr">
      <vt:lpstr>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assembly</dc:creator>
  <cp:lastModifiedBy>assembly</cp:lastModifiedBy>
  <cp:revision>90</cp:revision>
  <cp:lastPrinted>2014-10-15T02:08:22Z</cp:lastPrinted>
  <dcterms:created xsi:type="dcterms:W3CDTF">2014-10-11T05:07:05Z</dcterms:created>
  <dcterms:modified xsi:type="dcterms:W3CDTF">2014-10-15T23:25:13Z</dcterms:modified>
</cp:coreProperties>
</file>